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1.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notesSlides/notesSlide11.xml" ContentType="application/vnd.openxmlformats-officedocument.presentationml.notesSlide+xml"/>
  <Override PartName="/ppt/tags/tag32.xml" ContentType="application/vnd.openxmlformats-officedocument.presentationml.tags+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5.xml" ContentType="application/vnd.openxmlformats-officedocument.presentationml.tags+xml"/>
  <Override PartName="/ppt/notesSlides/notesSlide1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6.xml" ContentType="application/vnd.openxmlformats-officedocument.presentationml.tags+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7.xml" ContentType="application/vnd.openxmlformats-officedocument.presentationml.tags+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8.xml" ContentType="application/vnd.openxmlformats-officedocument.presentationml.tags+xml"/>
  <Override PartName="/ppt/notesSlides/notesSlide1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notesSlides/notesSlide1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3.xml" ContentType="application/vnd.openxmlformats-officedocument.presentationml.tags+xml"/>
  <Override PartName="/ppt/tags/tag44.xml" ContentType="application/vnd.openxmlformats-officedocument.presentationml.tags+xml"/>
  <Override PartName="/ppt/notesSlides/notesSlide2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5.xml" ContentType="application/vnd.openxmlformats-officedocument.presentationml.tags+xml"/>
  <Override PartName="/ppt/notesSlides/notesSlide23.xml" ContentType="application/vnd.openxmlformats-officedocument.presentationml.notesSlide+xml"/>
  <Override PartName="/ppt/tags/tag46.xml" ContentType="application/vnd.openxmlformats-officedocument.presentationml.tags+xml"/>
  <Override PartName="/ppt/notesSlides/notesSlide2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9.xml" ContentType="application/vnd.openxmlformats-officedocument.presentationml.tags+xml"/>
  <Override PartName="/ppt/tags/tag50.xml" ContentType="application/vnd.openxmlformats-officedocument.presentationml.tags+xml"/>
  <Override PartName="/ppt/notesSlides/notesSlide27.xml" ContentType="application/vnd.openxmlformats-officedocument.presentationml.notesSlide+xml"/>
  <Override PartName="/ppt/tags/tag51.xml" ContentType="application/vnd.openxmlformats-officedocument.presentationml.tags+xml"/>
  <Override PartName="/ppt/notesSlides/notesSlide2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52.xml" ContentType="application/vnd.openxmlformats-officedocument.presentationml.tags+xml"/>
  <Override PartName="/ppt/tags/tag53.xml" ContentType="application/vnd.openxmlformats-officedocument.presentationml.tags+xml"/>
  <Override PartName="/ppt/notesSlides/notesSlide2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54.xml" ContentType="application/vnd.openxmlformats-officedocument.presentationml.tags+xml"/>
  <Override PartName="/ppt/tags/tag55.xml" ContentType="application/vnd.openxmlformats-officedocument.presentationml.tags+xml"/>
  <Override PartName="/ppt/notesSlides/notesSlide3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56.xml" ContentType="application/vnd.openxmlformats-officedocument.presentationml.tags+xml"/>
  <Override PartName="/ppt/notesSlides/notesSlide3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2.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59.xml" ContentType="application/vnd.openxmlformats-officedocument.presentationml.tags+xml"/>
  <Override PartName="/ppt/tags/tag60.xml" ContentType="application/vnd.openxmlformats-officedocument.presentationml.tags+xml"/>
  <Override PartName="/ppt/notesSlides/notesSlide33.xml" ContentType="application/vnd.openxmlformats-officedocument.presentationml.notesSlide+xml"/>
  <Override PartName="/ppt/tags/tag61.xml" ContentType="application/vnd.openxmlformats-officedocument.presentationml.tags+xml"/>
  <Override PartName="/ppt/notesSlides/notesSlide34.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62.xml" ContentType="application/vnd.openxmlformats-officedocument.presentationml.tags+xml"/>
  <Override PartName="/ppt/tags/tag63.xml" ContentType="application/vnd.openxmlformats-officedocument.presentationml.tags+xml"/>
  <Override PartName="/ppt/notesSlides/notesSlide35.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7" r:id="rId10"/>
    <p:sldMasterId id="2147483787" r:id="rId11"/>
    <p:sldMasterId id="2147483818" r:id="rId12"/>
    <p:sldMasterId id="2147483845" r:id="rId13"/>
    <p:sldMasterId id="2147483893" r:id="rId14"/>
    <p:sldMasterId id="2147483938" r:id="rId15"/>
  </p:sldMasterIdLst>
  <p:notesMasterIdLst>
    <p:notesMasterId r:id="rId60"/>
  </p:notesMasterIdLst>
  <p:handoutMasterIdLst>
    <p:handoutMasterId r:id="rId61"/>
  </p:handoutMasterIdLst>
  <p:sldIdLst>
    <p:sldId id="260" r:id="rId16"/>
    <p:sldId id="258" r:id="rId17"/>
    <p:sldId id="562" r:id="rId18"/>
    <p:sldId id="561" r:id="rId19"/>
    <p:sldId id="534" r:id="rId20"/>
    <p:sldId id="1469" r:id="rId21"/>
    <p:sldId id="257" r:id="rId22"/>
    <p:sldId id="1542" r:id="rId23"/>
    <p:sldId id="1477" r:id="rId24"/>
    <p:sldId id="1478" r:id="rId25"/>
    <p:sldId id="531" r:id="rId26"/>
    <p:sldId id="560" r:id="rId27"/>
    <p:sldId id="563" r:id="rId28"/>
    <p:sldId id="564" r:id="rId29"/>
    <p:sldId id="565" r:id="rId30"/>
    <p:sldId id="1496" r:id="rId31"/>
    <p:sldId id="1497" r:id="rId32"/>
    <p:sldId id="1691" r:id="rId33"/>
    <p:sldId id="1690" r:id="rId34"/>
    <p:sldId id="1689" r:id="rId35"/>
    <p:sldId id="1688" r:id="rId36"/>
    <p:sldId id="1694" r:id="rId37"/>
    <p:sldId id="1500" r:id="rId38"/>
    <p:sldId id="1498" r:id="rId39"/>
    <p:sldId id="1535" r:id="rId40"/>
    <p:sldId id="512" r:id="rId41"/>
    <p:sldId id="1550" r:id="rId42"/>
    <p:sldId id="567" r:id="rId43"/>
    <p:sldId id="569" r:id="rId44"/>
    <p:sldId id="570" r:id="rId45"/>
    <p:sldId id="571" r:id="rId46"/>
    <p:sldId id="572" r:id="rId47"/>
    <p:sldId id="1501" r:id="rId48"/>
    <p:sldId id="1502" r:id="rId49"/>
    <p:sldId id="1504" r:id="rId50"/>
    <p:sldId id="1547" r:id="rId51"/>
    <p:sldId id="1508" r:id="rId52"/>
    <p:sldId id="1551" r:id="rId53"/>
    <p:sldId id="1692" r:id="rId54"/>
    <p:sldId id="574" r:id="rId55"/>
    <p:sldId id="575" r:id="rId56"/>
    <p:sldId id="576" r:id="rId57"/>
    <p:sldId id="577" r:id="rId58"/>
    <p:sldId id="259" r:id="rId59"/>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Introduction to SQL Operating System" id="{25ADF4C8-2200-4410-9F45-B05F5BA6D4E6}">
          <p14:sldIdLst>
            <p14:sldId id="561"/>
            <p14:sldId id="534"/>
            <p14:sldId id="1469"/>
            <p14:sldId id="257"/>
            <p14:sldId id="1542"/>
            <p14:sldId id="1477"/>
            <p14:sldId id="1478"/>
            <p14:sldId id="531"/>
            <p14:sldId id="560"/>
            <p14:sldId id="563"/>
          </p14:sldIdLst>
        </p14:section>
        <p14:section name="Lesson 2: SQL Server Task Scheduling" id="{6F639A05-2893-48A9-A600-6681E43668C4}">
          <p14:sldIdLst>
            <p14:sldId id="564"/>
            <p14:sldId id="565"/>
            <p14:sldId id="1496"/>
            <p14:sldId id="1497"/>
            <p14:sldId id="1691"/>
            <p14:sldId id="1690"/>
            <p14:sldId id="1689"/>
            <p14:sldId id="1688"/>
            <p14:sldId id="1694"/>
            <p14:sldId id="1500"/>
            <p14:sldId id="1498"/>
            <p14:sldId id="1535"/>
            <p14:sldId id="512"/>
            <p14:sldId id="1550"/>
            <p14:sldId id="567"/>
            <p14:sldId id="569"/>
            <p14:sldId id="570"/>
          </p14:sldIdLst>
        </p14:section>
        <p14:section name="Lesson 3: SQL Server Waits and Queues" id="{555EB127-B06E-428F-91FE-B308FD5309AF}">
          <p14:sldIdLst>
            <p14:sldId id="571"/>
            <p14:sldId id="572"/>
            <p14:sldId id="1501"/>
            <p14:sldId id="1502"/>
            <p14:sldId id="1504"/>
            <p14:sldId id="1547"/>
            <p14:sldId id="1508"/>
            <p14:sldId id="1551"/>
            <p14:sldId id="1692"/>
            <p14:sldId id="574"/>
            <p14:sldId id="575"/>
            <p14:sldId id="576"/>
            <p14:sldId id="577"/>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715F"/>
    <a:srgbClr val="296A8E"/>
    <a:srgbClr val="CBD6EF"/>
    <a:srgbClr val="91ABD5"/>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6102" autoAdjust="0"/>
    <p:restoredTop sz="66545" autoAdjust="0"/>
  </p:normalViewPr>
  <p:slideViewPr>
    <p:cSldViewPr snapToGrid="0">
      <p:cViewPr varScale="1">
        <p:scale>
          <a:sx n="59" d="100"/>
          <a:sy n="59" d="100"/>
        </p:scale>
        <p:origin x="648" y="5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commentAuthors" Target="commen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2.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handoutMaster" Target="handoutMasters/handoutMaster1.xml"/><Relationship Id="rId19" Type="http://schemas.openxmlformats.org/officeDocument/2006/relationships/slide" Target="slides/slide4.xml"/><Relationship Id="rId14" Type="http://schemas.openxmlformats.org/officeDocument/2006/relationships/slideMaster" Target="slideMasters/slideMaster5.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3.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tableStyles" Target="tableStyles.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6.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1.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4.xml"/><Relationship Id="rId18" Type="http://schemas.openxmlformats.org/officeDocument/2006/relationships/slide" Target="slides/slide3.xml"/><Relationship Id="rId39" Type="http://schemas.openxmlformats.org/officeDocument/2006/relationships/slide" Target="slides/slide2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5ABBCE-BC2E-4AD8-9059-595C3D20CCA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6B2FD90-F6D3-4508-BB81-12C4DF99ADBF}">
      <dgm:prSet custT="1"/>
      <dgm:spPr/>
      <dgm:t>
        <a:bodyPr/>
        <a:lstStyle/>
        <a:p>
          <a:r>
            <a:rPr lang="en-US" sz="2000" baseline="0" dirty="0"/>
            <a:t>Application layer between Microsoft SQL Server components and the Windows Operating System.</a:t>
          </a:r>
          <a:endParaRPr lang="en-US" sz="2000" dirty="0"/>
        </a:p>
      </dgm:t>
    </dgm:pt>
    <dgm:pt modelId="{3F60B57E-DA65-48DC-9ED7-A7F97E115BC1}" type="parTrans" cxnId="{22EED186-BD04-455F-BC35-3CD013CFD30F}">
      <dgm:prSet/>
      <dgm:spPr/>
      <dgm:t>
        <a:bodyPr/>
        <a:lstStyle/>
        <a:p>
          <a:endParaRPr lang="en-US"/>
        </a:p>
      </dgm:t>
    </dgm:pt>
    <dgm:pt modelId="{44C5884F-3C97-429E-9863-C99D5C3BB6A5}" type="sibTrans" cxnId="{22EED186-BD04-455F-BC35-3CD013CFD30F}">
      <dgm:prSet/>
      <dgm:spPr/>
      <dgm:t>
        <a:bodyPr/>
        <a:lstStyle/>
        <a:p>
          <a:endParaRPr lang="en-US"/>
        </a:p>
      </dgm:t>
    </dgm:pt>
    <dgm:pt modelId="{C5F183F0-D7EC-4E59-AD2A-D698409F7305}">
      <dgm:prSet custT="1"/>
      <dgm:spPr/>
      <dgm:t>
        <a:bodyPr/>
        <a:lstStyle/>
        <a:p>
          <a:r>
            <a:rPr lang="en-US" sz="2000" baseline="0"/>
            <a:t>Centralizes resource allocation to provide more efficient management and accounting.</a:t>
          </a:r>
          <a:endParaRPr lang="en-US" sz="2000"/>
        </a:p>
      </dgm:t>
    </dgm:pt>
    <dgm:pt modelId="{3BEEE15A-FF3D-485D-B1AC-F5F8214D3FCF}" type="parTrans" cxnId="{9157B326-9695-4F23-B914-148C962C92E7}">
      <dgm:prSet/>
      <dgm:spPr/>
      <dgm:t>
        <a:bodyPr/>
        <a:lstStyle/>
        <a:p>
          <a:endParaRPr lang="en-US"/>
        </a:p>
      </dgm:t>
    </dgm:pt>
    <dgm:pt modelId="{DF5146E4-C153-45BB-8FD7-318B2EB5A3AF}" type="sibTrans" cxnId="{9157B326-9695-4F23-B914-148C962C92E7}">
      <dgm:prSet/>
      <dgm:spPr/>
      <dgm:t>
        <a:bodyPr/>
        <a:lstStyle/>
        <a:p>
          <a:endParaRPr lang="en-US"/>
        </a:p>
      </dgm:t>
    </dgm:pt>
    <dgm:pt modelId="{51A9057E-3605-412D-AAF5-BDBB89B6A1C7}">
      <dgm:prSet custT="1"/>
      <dgm:spPr/>
      <dgm:t>
        <a:bodyPr/>
        <a:lstStyle/>
        <a:p>
          <a:r>
            <a:rPr lang="en-US" sz="2000" baseline="0" dirty="0"/>
            <a:t>The SQLOS is used by the SQL Server relational database engine for system-level services.</a:t>
          </a:r>
          <a:endParaRPr lang="en-US" sz="2000" dirty="0"/>
        </a:p>
      </dgm:t>
    </dgm:pt>
    <dgm:pt modelId="{8BBD6521-FE66-443A-BCAB-A14C2381E27D}" type="parTrans" cxnId="{F93DDC35-D471-43A8-A14B-9600F0EFDA1A}">
      <dgm:prSet/>
      <dgm:spPr/>
      <dgm:t>
        <a:bodyPr/>
        <a:lstStyle/>
        <a:p>
          <a:endParaRPr lang="en-US"/>
        </a:p>
      </dgm:t>
    </dgm:pt>
    <dgm:pt modelId="{695A8BF8-87D0-4B2B-8948-AF95052773B4}" type="sibTrans" cxnId="{F93DDC35-D471-43A8-A14B-9600F0EFDA1A}">
      <dgm:prSet/>
      <dgm:spPr/>
      <dgm:t>
        <a:bodyPr/>
        <a:lstStyle/>
        <a:p>
          <a:endParaRPr lang="en-US"/>
        </a:p>
      </dgm:t>
    </dgm:pt>
    <dgm:pt modelId="{48CD125A-74FE-4EB8-9F47-D00E75C2BDA2}">
      <dgm:prSet custT="1"/>
      <dgm:spPr/>
      <dgm:t>
        <a:bodyPr/>
        <a:lstStyle/>
        <a:p>
          <a:r>
            <a:rPr lang="en-US" sz="2000" baseline="0"/>
            <a:t>Abstracts the concepts of resource management from components, providing:</a:t>
          </a:r>
          <a:endParaRPr lang="en-US" sz="2000"/>
        </a:p>
      </dgm:t>
    </dgm:pt>
    <dgm:pt modelId="{9AE4FA2B-D66C-4D53-8304-93667A5015CE}" type="parTrans" cxnId="{8FB7801D-AA19-4825-ACCC-C7A1424F7C70}">
      <dgm:prSet/>
      <dgm:spPr/>
      <dgm:t>
        <a:bodyPr/>
        <a:lstStyle/>
        <a:p>
          <a:endParaRPr lang="en-US"/>
        </a:p>
      </dgm:t>
    </dgm:pt>
    <dgm:pt modelId="{713D40B0-D7D1-4D18-BFE8-BBB0841CB793}" type="sibTrans" cxnId="{8FB7801D-AA19-4825-ACCC-C7A1424F7C70}">
      <dgm:prSet/>
      <dgm:spPr/>
      <dgm:t>
        <a:bodyPr/>
        <a:lstStyle/>
        <a:p>
          <a:endParaRPr lang="en-US"/>
        </a:p>
      </dgm:t>
    </dgm:pt>
    <dgm:pt modelId="{4EA093BC-2564-4C27-98F2-11CEFF545E62}">
      <dgm:prSet/>
      <dgm:spPr/>
      <dgm:t>
        <a:bodyPr/>
        <a:lstStyle/>
        <a:p>
          <a:r>
            <a:rPr lang="en-US" b="1" baseline="0"/>
            <a:t>Scheduling and synchronization support</a:t>
          </a:r>
          <a:endParaRPr lang="en-US"/>
        </a:p>
      </dgm:t>
    </dgm:pt>
    <dgm:pt modelId="{80908B6F-47BD-4A1C-B885-F86E9C043B29}" type="parTrans" cxnId="{153CCB21-604F-4CC8-9FFF-70C86DF36A00}">
      <dgm:prSet/>
      <dgm:spPr/>
      <dgm:t>
        <a:bodyPr/>
        <a:lstStyle/>
        <a:p>
          <a:endParaRPr lang="en-US"/>
        </a:p>
      </dgm:t>
    </dgm:pt>
    <dgm:pt modelId="{29DA802F-EBEB-4FE6-99EB-A51FEF4D0164}" type="sibTrans" cxnId="{153CCB21-604F-4CC8-9FFF-70C86DF36A00}">
      <dgm:prSet/>
      <dgm:spPr/>
      <dgm:t>
        <a:bodyPr/>
        <a:lstStyle/>
        <a:p>
          <a:endParaRPr lang="en-US"/>
        </a:p>
      </dgm:t>
    </dgm:pt>
    <dgm:pt modelId="{7A5746CE-759A-4813-AA09-045F78E41F47}">
      <dgm:prSet/>
      <dgm:spPr/>
      <dgm:t>
        <a:bodyPr/>
        <a:lstStyle/>
        <a:p>
          <a:r>
            <a:rPr lang="en-US" b="1" baseline="0"/>
            <a:t>Memory management and caching</a:t>
          </a:r>
          <a:endParaRPr lang="en-US"/>
        </a:p>
      </dgm:t>
    </dgm:pt>
    <dgm:pt modelId="{A854B573-2B8F-4E0B-ABB1-9918B8AE93A7}" type="parTrans" cxnId="{D24E6314-2166-4D78-A226-F599FEF40C38}">
      <dgm:prSet/>
      <dgm:spPr/>
      <dgm:t>
        <a:bodyPr/>
        <a:lstStyle/>
        <a:p>
          <a:endParaRPr lang="en-US"/>
        </a:p>
      </dgm:t>
    </dgm:pt>
    <dgm:pt modelId="{D7644BFF-06BE-4EDA-8B4B-C05998240634}" type="sibTrans" cxnId="{D24E6314-2166-4D78-A226-F599FEF40C38}">
      <dgm:prSet/>
      <dgm:spPr/>
      <dgm:t>
        <a:bodyPr/>
        <a:lstStyle/>
        <a:p>
          <a:endParaRPr lang="en-US"/>
        </a:p>
      </dgm:t>
    </dgm:pt>
    <dgm:pt modelId="{61175714-A314-4445-8DF9-307879AA462C}">
      <dgm:prSet/>
      <dgm:spPr/>
      <dgm:t>
        <a:bodyPr/>
        <a:lstStyle/>
        <a:p>
          <a:r>
            <a:rPr lang="en-US" b="1" baseline="0"/>
            <a:t>Resource governance</a:t>
          </a:r>
          <a:endParaRPr lang="en-US"/>
        </a:p>
      </dgm:t>
    </dgm:pt>
    <dgm:pt modelId="{2E17D6B6-D296-4DD2-A7A4-A44AECBA669C}" type="parTrans" cxnId="{AAE9FB0B-0F18-4BCA-B74A-FED5CC5962B5}">
      <dgm:prSet/>
      <dgm:spPr/>
      <dgm:t>
        <a:bodyPr/>
        <a:lstStyle/>
        <a:p>
          <a:endParaRPr lang="en-US"/>
        </a:p>
      </dgm:t>
    </dgm:pt>
    <dgm:pt modelId="{BBDF5C35-5A8E-485F-BBFA-6509A5EBF92B}" type="sibTrans" cxnId="{AAE9FB0B-0F18-4BCA-B74A-FED5CC5962B5}">
      <dgm:prSet/>
      <dgm:spPr/>
      <dgm:t>
        <a:bodyPr/>
        <a:lstStyle/>
        <a:p>
          <a:endParaRPr lang="en-US"/>
        </a:p>
      </dgm:t>
    </dgm:pt>
    <dgm:pt modelId="{A0E1CCF0-13EC-4888-9AD9-0B6209D4D175}">
      <dgm:prSet/>
      <dgm:spPr/>
      <dgm:t>
        <a:bodyPr/>
        <a:lstStyle/>
        <a:p>
          <a:r>
            <a:rPr lang="en-US" b="1" baseline="0"/>
            <a:t>Diagnostics and debug infrastructure</a:t>
          </a:r>
          <a:endParaRPr lang="en-US"/>
        </a:p>
      </dgm:t>
    </dgm:pt>
    <dgm:pt modelId="{B457BA02-CC2E-4FC0-A612-7EB26B2EB6CA}" type="parTrans" cxnId="{47E78528-99CF-4D42-A8CE-4274BDA7C3C4}">
      <dgm:prSet/>
      <dgm:spPr/>
      <dgm:t>
        <a:bodyPr/>
        <a:lstStyle/>
        <a:p>
          <a:endParaRPr lang="en-US"/>
        </a:p>
      </dgm:t>
    </dgm:pt>
    <dgm:pt modelId="{42B2827C-7CC1-46FA-87EE-E4C9A08FAAE1}" type="sibTrans" cxnId="{47E78528-99CF-4D42-A8CE-4274BDA7C3C4}">
      <dgm:prSet/>
      <dgm:spPr/>
      <dgm:t>
        <a:bodyPr/>
        <a:lstStyle/>
        <a:p>
          <a:endParaRPr lang="en-US"/>
        </a:p>
      </dgm:t>
    </dgm:pt>
    <dgm:pt modelId="{C728A852-76E4-413E-9DAE-0BA62737F735}">
      <dgm:prSet/>
      <dgm:spPr/>
      <dgm:t>
        <a:bodyPr/>
        <a:lstStyle/>
        <a:p>
          <a:r>
            <a:rPr lang="en-US" b="1" baseline="0"/>
            <a:t>Scalability and performance optimization</a:t>
          </a:r>
          <a:endParaRPr lang="en-US"/>
        </a:p>
      </dgm:t>
    </dgm:pt>
    <dgm:pt modelId="{8BCB7984-F909-4975-B85E-8E62B1F50D3C}" type="parTrans" cxnId="{B632DA30-B5A9-4C89-93F0-3E37DF74EC8B}">
      <dgm:prSet/>
      <dgm:spPr/>
      <dgm:t>
        <a:bodyPr/>
        <a:lstStyle/>
        <a:p>
          <a:endParaRPr lang="en-US"/>
        </a:p>
      </dgm:t>
    </dgm:pt>
    <dgm:pt modelId="{F57AFAFF-C223-42A7-AFE9-C4D7419AD216}" type="sibTrans" cxnId="{B632DA30-B5A9-4C89-93F0-3E37DF74EC8B}">
      <dgm:prSet/>
      <dgm:spPr/>
      <dgm:t>
        <a:bodyPr/>
        <a:lstStyle/>
        <a:p>
          <a:endParaRPr lang="en-US"/>
        </a:p>
      </dgm:t>
    </dgm:pt>
    <dgm:pt modelId="{BC3E37FD-E969-4EA5-A054-C2DEEFA3119F}" type="pres">
      <dgm:prSet presAssocID="{6A5ABBCE-BC2E-4AD8-9059-595C3D20CCA9}" presName="linear" presStyleCnt="0">
        <dgm:presLayoutVars>
          <dgm:animLvl val="lvl"/>
          <dgm:resizeHandles val="exact"/>
        </dgm:presLayoutVars>
      </dgm:prSet>
      <dgm:spPr/>
    </dgm:pt>
    <dgm:pt modelId="{16C1CE2C-8281-4680-B20A-F4384783D7A9}" type="pres">
      <dgm:prSet presAssocID="{C6B2FD90-F6D3-4508-BB81-12C4DF99ADBF}" presName="parentText" presStyleLbl="node1" presStyleIdx="0" presStyleCnt="4">
        <dgm:presLayoutVars>
          <dgm:chMax val="0"/>
          <dgm:bulletEnabled val="1"/>
        </dgm:presLayoutVars>
      </dgm:prSet>
      <dgm:spPr/>
    </dgm:pt>
    <dgm:pt modelId="{66A7C464-2FEB-4101-A5C7-9A9FF3F6077C}" type="pres">
      <dgm:prSet presAssocID="{44C5884F-3C97-429E-9863-C99D5C3BB6A5}" presName="spacer" presStyleCnt="0"/>
      <dgm:spPr/>
    </dgm:pt>
    <dgm:pt modelId="{70A4E46F-F7D1-41A2-8155-8CEB0C66CEAB}" type="pres">
      <dgm:prSet presAssocID="{C5F183F0-D7EC-4E59-AD2A-D698409F7305}" presName="parentText" presStyleLbl="node1" presStyleIdx="1" presStyleCnt="4">
        <dgm:presLayoutVars>
          <dgm:chMax val="0"/>
          <dgm:bulletEnabled val="1"/>
        </dgm:presLayoutVars>
      </dgm:prSet>
      <dgm:spPr/>
    </dgm:pt>
    <dgm:pt modelId="{796A45AB-CA82-414A-9773-81F7F0BE2E6F}" type="pres">
      <dgm:prSet presAssocID="{DF5146E4-C153-45BB-8FD7-318B2EB5A3AF}" presName="spacer" presStyleCnt="0"/>
      <dgm:spPr/>
    </dgm:pt>
    <dgm:pt modelId="{8F6557ED-EA5A-4C57-BD7E-815F3B29B97F}" type="pres">
      <dgm:prSet presAssocID="{51A9057E-3605-412D-AAF5-BDBB89B6A1C7}" presName="parentText" presStyleLbl="node1" presStyleIdx="2" presStyleCnt="4">
        <dgm:presLayoutVars>
          <dgm:chMax val="0"/>
          <dgm:bulletEnabled val="1"/>
        </dgm:presLayoutVars>
      </dgm:prSet>
      <dgm:spPr/>
    </dgm:pt>
    <dgm:pt modelId="{53F90EBE-B169-4346-B978-FACE8143F699}" type="pres">
      <dgm:prSet presAssocID="{695A8BF8-87D0-4B2B-8948-AF95052773B4}" presName="spacer" presStyleCnt="0"/>
      <dgm:spPr/>
    </dgm:pt>
    <dgm:pt modelId="{12C92250-5AAC-404E-836C-E71243683BFE}" type="pres">
      <dgm:prSet presAssocID="{48CD125A-74FE-4EB8-9F47-D00E75C2BDA2}" presName="parentText" presStyleLbl="node1" presStyleIdx="3" presStyleCnt="4">
        <dgm:presLayoutVars>
          <dgm:chMax val="0"/>
          <dgm:bulletEnabled val="1"/>
        </dgm:presLayoutVars>
      </dgm:prSet>
      <dgm:spPr/>
    </dgm:pt>
    <dgm:pt modelId="{776B8DDC-FCA5-4A7B-8C53-01F47D0BFE82}" type="pres">
      <dgm:prSet presAssocID="{48CD125A-74FE-4EB8-9F47-D00E75C2BDA2}" presName="childText" presStyleLbl="revTx" presStyleIdx="0" presStyleCnt="1">
        <dgm:presLayoutVars>
          <dgm:bulletEnabled val="1"/>
        </dgm:presLayoutVars>
      </dgm:prSet>
      <dgm:spPr/>
    </dgm:pt>
  </dgm:ptLst>
  <dgm:cxnLst>
    <dgm:cxn modelId="{71026706-DDA4-40BA-9C06-348BDF48726F}" type="presOf" srcId="{51A9057E-3605-412D-AAF5-BDBB89B6A1C7}" destId="{8F6557ED-EA5A-4C57-BD7E-815F3B29B97F}" srcOrd="0" destOrd="0" presId="urn:microsoft.com/office/officeart/2005/8/layout/vList2"/>
    <dgm:cxn modelId="{AAE9FB0B-0F18-4BCA-B74A-FED5CC5962B5}" srcId="{48CD125A-74FE-4EB8-9F47-D00E75C2BDA2}" destId="{61175714-A314-4445-8DF9-307879AA462C}" srcOrd="2" destOrd="0" parTransId="{2E17D6B6-D296-4DD2-A7A4-A44AECBA669C}" sibTransId="{BBDF5C35-5A8E-485F-BBFA-6509A5EBF92B}"/>
    <dgm:cxn modelId="{D24E6314-2166-4D78-A226-F599FEF40C38}" srcId="{48CD125A-74FE-4EB8-9F47-D00E75C2BDA2}" destId="{7A5746CE-759A-4813-AA09-045F78E41F47}" srcOrd="1" destOrd="0" parTransId="{A854B573-2B8F-4E0B-ABB1-9918B8AE93A7}" sibTransId="{D7644BFF-06BE-4EDA-8B4B-C05998240634}"/>
    <dgm:cxn modelId="{C2312E1D-D175-4D37-9752-8C1C9563B965}" type="presOf" srcId="{C5F183F0-D7EC-4E59-AD2A-D698409F7305}" destId="{70A4E46F-F7D1-41A2-8155-8CEB0C66CEAB}" srcOrd="0" destOrd="0" presId="urn:microsoft.com/office/officeart/2005/8/layout/vList2"/>
    <dgm:cxn modelId="{8FB7801D-AA19-4825-ACCC-C7A1424F7C70}" srcId="{6A5ABBCE-BC2E-4AD8-9059-595C3D20CCA9}" destId="{48CD125A-74FE-4EB8-9F47-D00E75C2BDA2}" srcOrd="3" destOrd="0" parTransId="{9AE4FA2B-D66C-4D53-8304-93667A5015CE}" sibTransId="{713D40B0-D7D1-4D18-BFE8-BBB0841CB793}"/>
    <dgm:cxn modelId="{153CCB21-604F-4CC8-9FFF-70C86DF36A00}" srcId="{48CD125A-74FE-4EB8-9F47-D00E75C2BDA2}" destId="{4EA093BC-2564-4C27-98F2-11CEFF545E62}" srcOrd="0" destOrd="0" parTransId="{80908B6F-47BD-4A1C-B885-F86E9C043B29}" sibTransId="{29DA802F-EBEB-4FE6-99EB-A51FEF4D0164}"/>
    <dgm:cxn modelId="{9157B326-9695-4F23-B914-148C962C92E7}" srcId="{6A5ABBCE-BC2E-4AD8-9059-595C3D20CCA9}" destId="{C5F183F0-D7EC-4E59-AD2A-D698409F7305}" srcOrd="1" destOrd="0" parTransId="{3BEEE15A-FF3D-485D-B1AC-F5F8214D3FCF}" sibTransId="{DF5146E4-C153-45BB-8FD7-318B2EB5A3AF}"/>
    <dgm:cxn modelId="{47E78528-99CF-4D42-A8CE-4274BDA7C3C4}" srcId="{48CD125A-74FE-4EB8-9F47-D00E75C2BDA2}" destId="{A0E1CCF0-13EC-4888-9AD9-0B6209D4D175}" srcOrd="3" destOrd="0" parTransId="{B457BA02-CC2E-4FC0-A612-7EB26B2EB6CA}" sibTransId="{42B2827C-7CC1-46FA-87EE-E4C9A08FAAE1}"/>
    <dgm:cxn modelId="{B632DA30-B5A9-4C89-93F0-3E37DF74EC8B}" srcId="{48CD125A-74FE-4EB8-9F47-D00E75C2BDA2}" destId="{C728A852-76E4-413E-9DAE-0BA62737F735}" srcOrd="4" destOrd="0" parTransId="{8BCB7984-F909-4975-B85E-8E62B1F50D3C}" sibTransId="{F57AFAFF-C223-42A7-AFE9-C4D7419AD216}"/>
    <dgm:cxn modelId="{F93DDC35-D471-43A8-A14B-9600F0EFDA1A}" srcId="{6A5ABBCE-BC2E-4AD8-9059-595C3D20CCA9}" destId="{51A9057E-3605-412D-AAF5-BDBB89B6A1C7}" srcOrd="2" destOrd="0" parTransId="{8BBD6521-FE66-443A-BCAB-A14C2381E27D}" sibTransId="{695A8BF8-87D0-4B2B-8948-AF95052773B4}"/>
    <dgm:cxn modelId="{88B23C40-B13C-4112-8657-B42B4B161FEE}" type="presOf" srcId="{48CD125A-74FE-4EB8-9F47-D00E75C2BDA2}" destId="{12C92250-5AAC-404E-836C-E71243683BFE}" srcOrd="0" destOrd="0" presId="urn:microsoft.com/office/officeart/2005/8/layout/vList2"/>
    <dgm:cxn modelId="{B1EA5043-3A23-4B9E-AD3C-4D8111F76E36}" type="presOf" srcId="{61175714-A314-4445-8DF9-307879AA462C}" destId="{776B8DDC-FCA5-4A7B-8C53-01F47D0BFE82}" srcOrd="0" destOrd="2" presId="urn:microsoft.com/office/officeart/2005/8/layout/vList2"/>
    <dgm:cxn modelId="{D934AB72-CDE7-4276-BBCB-C8EB76D071C5}" type="presOf" srcId="{7A5746CE-759A-4813-AA09-045F78E41F47}" destId="{776B8DDC-FCA5-4A7B-8C53-01F47D0BFE82}" srcOrd="0" destOrd="1" presId="urn:microsoft.com/office/officeart/2005/8/layout/vList2"/>
    <dgm:cxn modelId="{68DACA76-C367-4446-BB81-42AC2BE27AEF}" type="presOf" srcId="{C728A852-76E4-413E-9DAE-0BA62737F735}" destId="{776B8DDC-FCA5-4A7B-8C53-01F47D0BFE82}" srcOrd="0" destOrd="4" presId="urn:microsoft.com/office/officeart/2005/8/layout/vList2"/>
    <dgm:cxn modelId="{22EED186-BD04-455F-BC35-3CD013CFD30F}" srcId="{6A5ABBCE-BC2E-4AD8-9059-595C3D20CCA9}" destId="{C6B2FD90-F6D3-4508-BB81-12C4DF99ADBF}" srcOrd="0" destOrd="0" parTransId="{3F60B57E-DA65-48DC-9ED7-A7F97E115BC1}" sibTransId="{44C5884F-3C97-429E-9863-C99D5C3BB6A5}"/>
    <dgm:cxn modelId="{5DBA68B2-3A89-443F-9436-9CA951DCE8A0}" type="presOf" srcId="{4EA093BC-2564-4C27-98F2-11CEFF545E62}" destId="{776B8DDC-FCA5-4A7B-8C53-01F47D0BFE82}" srcOrd="0" destOrd="0" presId="urn:microsoft.com/office/officeart/2005/8/layout/vList2"/>
    <dgm:cxn modelId="{0B3F60CC-7C8D-4901-8F38-1BB340934A30}" type="presOf" srcId="{A0E1CCF0-13EC-4888-9AD9-0B6209D4D175}" destId="{776B8DDC-FCA5-4A7B-8C53-01F47D0BFE82}" srcOrd="0" destOrd="3" presId="urn:microsoft.com/office/officeart/2005/8/layout/vList2"/>
    <dgm:cxn modelId="{643C5BF6-2B6C-4D7B-BFA2-67D77328BC6B}" type="presOf" srcId="{6A5ABBCE-BC2E-4AD8-9059-595C3D20CCA9}" destId="{BC3E37FD-E969-4EA5-A054-C2DEEFA3119F}" srcOrd="0" destOrd="0" presId="urn:microsoft.com/office/officeart/2005/8/layout/vList2"/>
    <dgm:cxn modelId="{F8FD5CF9-F031-4C76-A77D-F6D10752913E}" type="presOf" srcId="{C6B2FD90-F6D3-4508-BB81-12C4DF99ADBF}" destId="{16C1CE2C-8281-4680-B20A-F4384783D7A9}" srcOrd="0" destOrd="0" presId="urn:microsoft.com/office/officeart/2005/8/layout/vList2"/>
    <dgm:cxn modelId="{615C2D90-13DB-4F85-B919-CA91BA9166F9}" type="presParOf" srcId="{BC3E37FD-E969-4EA5-A054-C2DEEFA3119F}" destId="{16C1CE2C-8281-4680-B20A-F4384783D7A9}" srcOrd="0" destOrd="0" presId="urn:microsoft.com/office/officeart/2005/8/layout/vList2"/>
    <dgm:cxn modelId="{9BA36DD4-84D2-49B9-A74A-D661C407A40C}" type="presParOf" srcId="{BC3E37FD-E969-4EA5-A054-C2DEEFA3119F}" destId="{66A7C464-2FEB-4101-A5C7-9A9FF3F6077C}" srcOrd="1" destOrd="0" presId="urn:microsoft.com/office/officeart/2005/8/layout/vList2"/>
    <dgm:cxn modelId="{166FC3D9-B6F4-4562-8A19-ABF2303396E1}" type="presParOf" srcId="{BC3E37FD-E969-4EA5-A054-C2DEEFA3119F}" destId="{70A4E46F-F7D1-41A2-8155-8CEB0C66CEAB}" srcOrd="2" destOrd="0" presId="urn:microsoft.com/office/officeart/2005/8/layout/vList2"/>
    <dgm:cxn modelId="{2952A2D6-C1CC-421E-81D1-FF14B477C336}" type="presParOf" srcId="{BC3E37FD-E969-4EA5-A054-C2DEEFA3119F}" destId="{796A45AB-CA82-414A-9773-81F7F0BE2E6F}" srcOrd="3" destOrd="0" presId="urn:microsoft.com/office/officeart/2005/8/layout/vList2"/>
    <dgm:cxn modelId="{D180EA5A-4155-4C45-BA1E-1AC79908E124}" type="presParOf" srcId="{BC3E37FD-E969-4EA5-A054-C2DEEFA3119F}" destId="{8F6557ED-EA5A-4C57-BD7E-815F3B29B97F}" srcOrd="4" destOrd="0" presId="urn:microsoft.com/office/officeart/2005/8/layout/vList2"/>
    <dgm:cxn modelId="{412AC5C8-5B32-41F2-9B3D-9741B79F3D3B}" type="presParOf" srcId="{BC3E37FD-E969-4EA5-A054-C2DEEFA3119F}" destId="{53F90EBE-B169-4346-B978-FACE8143F699}" srcOrd="5" destOrd="0" presId="urn:microsoft.com/office/officeart/2005/8/layout/vList2"/>
    <dgm:cxn modelId="{856A8648-0675-4244-8A78-3AE9C2BF2D04}" type="presParOf" srcId="{BC3E37FD-E969-4EA5-A054-C2DEEFA3119F}" destId="{12C92250-5AAC-404E-836C-E71243683BFE}" srcOrd="6" destOrd="0" presId="urn:microsoft.com/office/officeart/2005/8/layout/vList2"/>
    <dgm:cxn modelId="{2A4C1ACB-9A29-4070-AC1A-1DD75B8EC3CB}" type="presParOf" srcId="{BC3E37FD-E969-4EA5-A054-C2DEEFA3119F}" destId="{776B8DDC-FCA5-4A7B-8C53-01F47D0BFE82}"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BD1C3B3-C3A0-45CD-A9EB-4E436EE19D03}"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C38DD189-FE8B-42E3-B853-F430A9C9296B}">
      <dgm:prSet custT="1"/>
      <dgm:spPr/>
      <dgm:t>
        <a:bodyPr/>
        <a:lstStyle/>
        <a:p>
          <a:r>
            <a:rPr lang="pt-PT" sz="2400" b="1" baseline="0" dirty="0"/>
            <a:t>Non-Preemptive (Cooperative)</a:t>
          </a:r>
          <a:endParaRPr lang="en-US" sz="2400" dirty="0"/>
        </a:p>
      </dgm:t>
    </dgm:pt>
    <dgm:pt modelId="{DE08E7CB-3F47-4673-A80F-23C070AF3C7E}" type="parTrans" cxnId="{1B0A6CC5-A86A-47F0-B94D-DEF189EF7556}">
      <dgm:prSet/>
      <dgm:spPr/>
      <dgm:t>
        <a:bodyPr/>
        <a:lstStyle/>
        <a:p>
          <a:endParaRPr lang="en-US"/>
        </a:p>
      </dgm:t>
    </dgm:pt>
    <dgm:pt modelId="{70CB49B7-A2E6-491E-AD36-E007836B2C4D}" type="sibTrans" cxnId="{1B0A6CC5-A86A-47F0-B94D-DEF189EF7556}">
      <dgm:prSet/>
      <dgm:spPr/>
      <dgm:t>
        <a:bodyPr/>
        <a:lstStyle/>
        <a:p>
          <a:endParaRPr lang="en-US"/>
        </a:p>
      </dgm:t>
    </dgm:pt>
    <dgm:pt modelId="{CA3E7416-E740-4B29-AD08-8AEC1CEACE3E}">
      <dgm:prSet custT="1"/>
      <dgm:spPr/>
      <dgm:t>
        <a:bodyPr/>
        <a:lstStyle/>
        <a:p>
          <a:r>
            <a:rPr lang="en-US" sz="2400" baseline="0" dirty="0"/>
            <a:t>SQL Server manages CPU scheduling for most activity (instead of the operating system).</a:t>
          </a:r>
          <a:endParaRPr lang="en-US" sz="2400" dirty="0"/>
        </a:p>
      </dgm:t>
    </dgm:pt>
    <dgm:pt modelId="{C23059B4-A535-493F-8631-6DC19B39968B}" type="parTrans" cxnId="{073ECC03-E292-4650-A0C1-989C5FAFD053}">
      <dgm:prSet/>
      <dgm:spPr/>
      <dgm:t>
        <a:bodyPr/>
        <a:lstStyle/>
        <a:p>
          <a:endParaRPr lang="en-US"/>
        </a:p>
      </dgm:t>
    </dgm:pt>
    <dgm:pt modelId="{B561FAEF-C618-4CD7-A34C-785E8D676AC8}" type="sibTrans" cxnId="{073ECC03-E292-4650-A0C1-989C5FAFD053}">
      <dgm:prSet/>
      <dgm:spPr/>
      <dgm:t>
        <a:bodyPr/>
        <a:lstStyle/>
        <a:p>
          <a:endParaRPr lang="en-US"/>
        </a:p>
      </dgm:t>
    </dgm:pt>
    <dgm:pt modelId="{1828CFFB-223A-4F55-99FA-4915CCA54AC1}">
      <dgm:prSet custT="1"/>
      <dgm:spPr/>
      <dgm:t>
        <a:bodyPr/>
        <a:lstStyle/>
        <a:p>
          <a:r>
            <a:rPr lang="en-US" sz="2400" baseline="0" dirty="0"/>
            <a:t>SQL Server decides when a thread should wait or get switched out (known as yielding).</a:t>
          </a:r>
          <a:endParaRPr lang="en-US" sz="2400" dirty="0"/>
        </a:p>
      </dgm:t>
    </dgm:pt>
    <dgm:pt modelId="{9CA0C35E-21AD-4A75-9DA8-3A84441EEB41}" type="parTrans" cxnId="{C1D657B7-B2A6-4D42-86E5-FAD0022B11DD}">
      <dgm:prSet/>
      <dgm:spPr/>
      <dgm:t>
        <a:bodyPr/>
        <a:lstStyle/>
        <a:p>
          <a:endParaRPr lang="en-US"/>
        </a:p>
      </dgm:t>
    </dgm:pt>
    <dgm:pt modelId="{0A5CD043-37DB-46B6-AFA7-3452A4FD7471}" type="sibTrans" cxnId="{C1D657B7-B2A6-4D42-86E5-FAD0022B11DD}">
      <dgm:prSet/>
      <dgm:spPr/>
      <dgm:t>
        <a:bodyPr/>
        <a:lstStyle/>
        <a:p>
          <a:endParaRPr lang="en-US"/>
        </a:p>
      </dgm:t>
    </dgm:pt>
    <dgm:pt modelId="{BB899681-E992-4766-872D-713AC8550504}">
      <dgm:prSet custT="1"/>
      <dgm:spPr/>
      <dgm:t>
        <a:bodyPr/>
        <a:lstStyle/>
        <a:p>
          <a:r>
            <a:rPr lang="en-US" sz="2400" b="1" baseline="0" dirty="0"/>
            <a:t>Preemptive</a:t>
          </a:r>
          <a:r>
            <a:rPr lang="en-US" sz="2800" baseline="0" dirty="0"/>
            <a:t> </a:t>
          </a:r>
          <a:endParaRPr lang="en-US" sz="2800" dirty="0"/>
        </a:p>
      </dgm:t>
    </dgm:pt>
    <dgm:pt modelId="{E502549D-4218-41DA-9E8E-BB2B3BBDEC28}" type="parTrans" cxnId="{9E0601FF-4BF8-4873-B4E8-4250CFBF436D}">
      <dgm:prSet/>
      <dgm:spPr/>
      <dgm:t>
        <a:bodyPr/>
        <a:lstStyle/>
        <a:p>
          <a:endParaRPr lang="en-US"/>
        </a:p>
      </dgm:t>
    </dgm:pt>
    <dgm:pt modelId="{7F4A27E6-8103-42AD-866E-D258F450CC2F}" type="sibTrans" cxnId="{9E0601FF-4BF8-4873-B4E8-4250CFBF436D}">
      <dgm:prSet/>
      <dgm:spPr/>
      <dgm:t>
        <a:bodyPr/>
        <a:lstStyle/>
        <a:p>
          <a:endParaRPr lang="en-US"/>
        </a:p>
      </dgm:t>
    </dgm:pt>
    <dgm:pt modelId="{8B4E88CA-A340-4F72-93FD-EF78ED48CDAC}">
      <dgm:prSet custT="1"/>
      <dgm:spPr/>
      <dgm:t>
        <a:bodyPr/>
        <a:lstStyle/>
        <a:p>
          <a:r>
            <a:rPr lang="en-US" sz="2400" baseline="0" dirty="0"/>
            <a:t>Preemption is the act of an operating system temporarily interrupting an executing task.</a:t>
          </a:r>
          <a:endParaRPr lang="en-US" sz="2400" dirty="0"/>
        </a:p>
      </dgm:t>
    </dgm:pt>
    <dgm:pt modelId="{EE3CEB9F-3BA0-4273-9283-BC80AC6D0613}" type="parTrans" cxnId="{4C03F4E1-72D9-4CC0-BD85-A22E7816274F}">
      <dgm:prSet/>
      <dgm:spPr/>
      <dgm:t>
        <a:bodyPr/>
        <a:lstStyle/>
        <a:p>
          <a:endParaRPr lang="en-US"/>
        </a:p>
      </dgm:t>
    </dgm:pt>
    <dgm:pt modelId="{B81D6DA6-2B1B-47C7-BAC4-C0EB13E63947}" type="sibTrans" cxnId="{4C03F4E1-72D9-4CC0-BD85-A22E7816274F}">
      <dgm:prSet/>
      <dgm:spPr/>
      <dgm:t>
        <a:bodyPr/>
        <a:lstStyle/>
        <a:p>
          <a:endParaRPr lang="en-US"/>
        </a:p>
      </dgm:t>
    </dgm:pt>
    <dgm:pt modelId="{5187997F-2F44-4D16-A896-FC8788D8141C}">
      <dgm:prSet custT="1"/>
      <dgm:spPr/>
      <dgm:t>
        <a:bodyPr/>
        <a:lstStyle/>
        <a:p>
          <a:r>
            <a:rPr lang="en-US" sz="2400" baseline="0" dirty="0"/>
            <a:t>Higher priority tasks can preempt lower priority tasks.</a:t>
          </a:r>
          <a:endParaRPr lang="en-US" sz="2400" dirty="0"/>
        </a:p>
      </dgm:t>
    </dgm:pt>
    <dgm:pt modelId="{538FCD6F-0744-4CC7-9D3D-EC688193A0CE}" type="parTrans" cxnId="{04CEB867-0D24-421B-8FB8-19082B28F177}">
      <dgm:prSet/>
      <dgm:spPr/>
      <dgm:t>
        <a:bodyPr/>
        <a:lstStyle/>
        <a:p>
          <a:endParaRPr lang="en-US"/>
        </a:p>
      </dgm:t>
    </dgm:pt>
    <dgm:pt modelId="{A9A85C5A-BBB7-4ACC-BB76-1092069BCB23}" type="sibTrans" cxnId="{04CEB867-0D24-421B-8FB8-19082B28F177}">
      <dgm:prSet/>
      <dgm:spPr/>
      <dgm:t>
        <a:bodyPr/>
        <a:lstStyle/>
        <a:p>
          <a:endParaRPr lang="en-US"/>
        </a:p>
      </dgm:t>
    </dgm:pt>
    <dgm:pt modelId="{95DBB61B-AA53-4EDE-8183-5C3AD459312F}">
      <dgm:prSet custT="1"/>
      <dgm:spPr/>
      <dgm:t>
        <a:bodyPr/>
        <a:lstStyle/>
        <a:p>
          <a:pPr>
            <a:buChar char="•"/>
          </a:pPr>
          <a:r>
            <a:rPr lang="en-US" sz="2400" dirty="0">
              <a:latin typeface="Segoe UI"/>
              <a:ea typeface="+mn-ea"/>
              <a:cs typeface="+mn-cs"/>
            </a:rPr>
            <a:t>Preemptive mode used in SQL Server for external code calls, CLR with an UNSAFE assemblies, extended stored procedures</a:t>
          </a:r>
          <a:endParaRPr lang="en-US" sz="2400" dirty="0"/>
        </a:p>
      </dgm:t>
    </dgm:pt>
    <dgm:pt modelId="{1D1AC66E-57DF-4ABB-850D-F0320D2DA4A7}" type="parTrans" cxnId="{7323B7FB-2BD2-49A8-A2B7-EC2B689750F1}">
      <dgm:prSet/>
      <dgm:spPr/>
      <dgm:t>
        <a:bodyPr/>
        <a:lstStyle/>
        <a:p>
          <a:endParaRPr lang="en-US"/>
        </a:p>
      </dgm:t>
    </dgm:pt>
    <dgm:pt modelId="{D4425678-012A-4AD7-BBEA-ED41C18CE838}" type="sibTrans" cxnId="{7323B7FB-2BD2-49A8-A2B7-EC2B689750F1}">
      <dgm:prSet/>
      <dgm:spPr/>
      <dgm:t>
        <a:bodyPr/>
        <a:lstStyle/>
        <a:p>
          <a:endParaRPr lang="en-US"/>
        </a:p>
      </dgm:t>
    </dgm:pt>
    <dgm:pt modelId="{C92DFE4C-54C8-4857-8CD5-DA2B6465E88B}" type="pres">
      <dgm:prSet presAssocID="{FBD1C3B3-C3A0-45CD-A9EB-4E436EE19D03}" presName="Name0" presStyleCnt="0">
        <dgm:presLayoutVars>
          <dgm:dir/>
          <dgm:animLvl val="lvl"/>
          <dgm:resizeHandles val="exact"/>
        </dgm:presLayoutVars>
      </dgm:prSet>
      <dgm:spPr/>
    </dgm:pt>
    <dgm:pt modelId="{6865943E-FDB4-4D20-A718-4839AE79AFDF}" type="pres">
      <dgm:prSet presAssocID="{C38DD189-FE8B-42E3-B853-F430A9C9296B}" presName="composite" presStyleCnt="0"/>
      <dgm:spPr/>
    </dgm:pt>
    <dgm:pt modelId="{00C8B9F4-C07B-4BDB-9B02-274228176F65}" type="pres">
      <dgm:prSet presAssocID="{C38DD189-FE8B-42E3-B853-F430A9C9296B}" presName="parTx" presStyleLbl="alignNode1" presStyleIdx="0" presStyleCnt="2">
        <dgm:presLayoutVars>
          <dgm:chMax val="0"/>
          <dgm:chPref val="0"/>
          <dgm:bulletEnabled val="1"/>
        </dgm:presLayoutVars>
      </dgm:prSet>
      <dgm:spPr/>
    </dgm:pt>
    <dgm:pt modelId="{9FA56444-34EE-48AD-9C14-1833291B460E}" type="pres">
      <dgm:prSet presAssocID="{C38DD189-FE8B-42E3-B853-F430A9C9296B}" presName="desTx" presStyleLbl="alignAccFollowNode1" presStyleIdx="0" presStyleCnt="2">
        <dgm:presLayoutVars>
          <dgm:bulletEnabled val="1"/>
        </dgm:presLayoutVars>
      </dgm:prSet>
      <dgm:spPr/>
    </dgm:pt>
    <dgm:pt modelId="{E802CA59-E719-461C-A8DF-2E3B9A157C7C}" type="pres">
      <dgm:prSet presAssocID="{70CB49B7-A2E6-491E-AD36-E007836B2C4D}" presName="space" presStyleCnt="0"/>
      <dgm:spPr/>
    </dgm:pt>
    <dgm:pt modelId="{6DF05E5B-E21D-429E-9468-9311526424E3}" type="pres">
      <dgm:prSet presAssocID="{BB899681-E992-4766-872D-713AC8550504}" presName="composite" presStyleCnt="0"/>
      <dgm:spPr/>
    </dgm:pt>
    <dgm:pt modelId="{A1C057C1-A8F1-4BFB-83F1-EF0CC59B6251}" type="pres">
      <dgm:prSet presAssocID="{BB899681-E992-4766-872D-713AC8550504}" presName="parTx" presStyleLbl="alignNode1" presStyleIdx="1" presStyleCnt="2">
        <dgm:presLayoutVars>
          <dgm:chMax val="0"/>
          <dgm:chPref val="0"/>
          <dgm:bulletEnabled val="1"/>
        </dgm:presLayoutVars>
      </dgm:prSet>
      <dgm:spPr/>
    </dgm:pt>
    <dgm:pt modelId="{669EB5CF-7E72-43BF-A8B8-27435BB06C03}" type="pres">
      <dgm:prSet presAssocID="{BB899681-E992-4766-872D-713AC8550504}" presName="desTx" presStyleLbl="alignAccFollowNode1" presStyleIdx="1" presStyleCnt="2">
        <dgm:presLayoutVars>
          <dgm:bulletEnabled val="1"/>
        </dgm:presLayoutVars>
      </dgm:prSet>
      <dgm:spPr/>
    </dgm:pt>
  </dgm:ptLst>
  <dgm:cxnLst>
    <dgm:cxn modelId="{073ECC03-E292-4650-A0C1-989C5FAFD053}" srcId="{C38DD189-FE8B-42E3-B853-F430A9C9296B}" destId="{CA3E7416-E740-4B29-AD08-8AEC1CEACE3E}" srcOrd="0" destOrd="0" parTransId="{C23059B4-A535-493F-8631-6DC19B39968B}" sibTransId="{B561FAEF-C618-4CD7-A34C-785E8D676AC8}"/>
    <dgm:cxn modelId="{B4583019-34DC-4133-9E24-27F72B98C444}" type="presOf" srcId="{CA3E7416-E740-4B29-AD08-8AEC1CEACE3E}" destId="{9FA56444-34EE-48AD-9C14-1833291B460E}" srcOrd="0" destOrd="0" presId="urn:microsoft.com/office/officeart/2005/8/layout/hList1"/>
    <dgm:cxn modelId="{15EDD72E-687C-45E7-B17C-097AFCE7F83D}" type="presOf" srcId="{C38DD189-FE8B-42E3-B853-F430A9C9296B}" destId="{00C8B9F4-C07B-4BDB-9B02-274228176F65}" srcOrd="0" destOrd="0" presId="urn:microsoft.com/office/officeart/2005/8/layout/hList1"/>
    <dgm:cxn modelId="{9E208167-1891-4281-B2C9-42851071E118}" type="presOf" srcId="{8B4E88CA-A340-4F72-93FD-EF78ED48CDAC}" destId="{669EB5CF-7E72-43BF-A8B8-27435BB06C03}" srcOrd="0" destOrd="0" presId="urn:microsoft.com/office/officeart/2005/8/layout/hList1"/>
    <dgm:cxn modelId="{04CEB867-0D24-421B-8FB8-19082B28F177}" srcId="{BB899681-E992-4766-872D-713AC8550504}" destId="{5187997F-2F44-4D16-A896-FC8788D8141C}" srcOrd="1" destOrd="0" parTransId="{538FCD6F-0744-4CC7-9D3D-EC688193A0CE}" sibTransId="{A9A85C5A-BBB7-4ACC-BB76-1092069BCB23}"/>
    <dgm:cxn modelId="{56C44C53-8681-4543-9BAA-10BE552696B1}" type="presOf" srcId="{1828CFFB-223A-4F55-99FA-4915CCA54AC1}" destId="{9FA56444-34EE-48AD-9C14-1833291B460E}" srcOrd="0" destOrd="1" presId="urn:microsoft.com/office/officeart/2005/8/layout/hList1"/>
    <dgm:cxn modelId="{C1D657B7-B2A6-4D42-86E5-FAD0022B11DD}" srcId="{C38DD189-FE8B-42E3-B853-F430A9C9296B}" destId="{1828CFFB-223A-4F55-99FA-4915CCA54AC1}" srcOrd="1" destOrd="0" parTransId="{9CA0C35E-21AD-4A75-9DA8-3A84441EEB41}" sibTransId="{0A5CD043-37DB-46B6-AFA7-3452A4FD7471}"/>
    <dgm:cxn modelId="{E1EA87B8-E756-4E25-942B-4ED2EBF3005A}" type="presOf" srcId="{5187997F-2F44-4D16-A896-FC8788D8141C}" destId="{669EB5CF-7E72-43BF-A8B8-27435BB06C03}" srcOrd="0" destOrd="1" presId="urn:microsoft.com/office/officeart/2005/8/layout/hList1"/>
    <dgm:cxn modelId="{1B0A6CC5-A86A-47F0-B94D-DEF189EF7556}" srcId="{FBD1C3B3-C3A0-45CD-A9EB-4E436EE19D03}" destId="{C38DD189-FE8B-42E3-B853-F430A9C9296B}" srcOrd="0" destOrd="0" parTransId="{DE08E7CB-3F47-4673-A80F-23C070AF3C7E}" sibTransId="{70CB49B7-A2E6-491E-AD36-E007836B2C4D}"/>
    <dgm:cxn modelId="{46A378CA-DB38-48D0-B5C3-30D9BF0F17B5}" type="presOf" srcId="{95DBB61B-AA53-4EDE-8183-5C3AD459312F}" destId="{669EB5CF-7E72-43BF-A8B8-27435BB06C03}" srcOrd="0" destOrd="2" presId="urn:microsoft.com/office/officeart/2005/8/layout/hList1"/>
    <dgm:cxn modelId="{A38E64CE-BBB5-4B26-9F03-13B8B16B2F68}" type="presOf" srcId="{FBD1C3B3-C3A0-45CD-A9EB-4E436EE19D03}" destId="{C92DFE4C-54C8-4857-8CD5-DA2B6465E88B}" srcOrd="0" destOrd="0" presId="urn:microsoft.com/office/officeart/2005/8/layout/hList1"/>
    <dgm:cxn modelId="{4C03F4E1-72D9-4CC0-BD85-A22E7816274F}" srcId="{BB899681-E992-4766-872D-713AC8550504}" destId="{8B4E88CA-A340-4F72-93FD-EF78ED48CDAC}" srcOrd="0" destOrd="0" parTransId="{EE3CEB9F-3BA0-4273-9283-BC80AC6D0613}" sibTransId="{B81D6DA6-2B1B-47C7-BAC4-C0EB13E63947}"/>
    <dgm:cxn modelId="{F8303DFB-0477-4122-BC64-5150E85E30C1}" type="presOf" srcId="{BB899681-E992-4766-872D-713AC8550504}" destId="{A1C057C1-A8F1-4BFB-83F1-EF0CC59B6251}" srcOrd="0" destOrd="0" presId="urn:microsoft.com/office/officeart/2005/8/layout/hList1"/>
    <dgm:cxn modelId="{7323B7FB-2BD2-49A8-A2B7-EC2B689750F1}" srcId="{BB899681-E992-4766-872D-713AC8550504}" destId="{95DBB61B-AA53-4EDE-8183-5C3AD459312F}" srcOrd="2" destOrd="0" parTransId="{1D1AC66E-57DF-4ABB-850D-F0320D2DA4A7}" sibTransId="{D4425678-012A-4AD7-BBEA-ED41C18CE838}"/>
    <dgm:cxn modelId="{9E0601FF-4BF8-4873-B4E8-4250CFBF436D}" srcId="{FBD1C3B3-C3A0-45CD-A9EB-4E436EE19D03}" destId="{BB899681-E992-4766-872D-713AC8550504}" srcOrd="1" destOrd="0" parTransId="{E502549D-4218-41DA-9E8E-BB2B3BBDEC28}" sibTransId="{7F4A27E6-8103-42AD-866E-D258F450CC2F}"/>
    <dgm:cxn modelId="{60EF5692-46CC-41CD-87DC-AA81D88832E0}" type="presParOf" srcId="{C92DFE4C-54C8-4857-8CD5-DA2B6465E88B}" destId="{6865943E-FDB4-4D20-A718-4839AE79AFDF}" srcOrd="0" destOrd="0" presId="urn:microsoft.com/office/officeart/2005/8/layout/hList1"/>
    <dgm:cxn modelId="{9A4BA303-FA6F-4B70-BA20-035DE8A7646F}" type="presParOf" srcId="{6865943E-FDB4-4D20-A718-4839AE79AFDF}" destId="{00C8B9F4-C07B-4BDB-9B02-274228176F65}" srcOrd="0" destOrd="0" presId="urn:microsoft.com/office/officeart/2005/8/layout/hList1"/>
    <dgm:cxn modelId="{1A557EFC-4A22-4A71-AE16-4D30370EF29A}" type="presParOf" srcId="{6865943E-FDB4-4D20-A718-4839AE79AFDF}" destId="{9FA56444-34EE-48AD-9C14-1833291B460E}" srcOrd="1" destOrd="0" presId="urn:microsoft.com/office/officeart/2005/8/layout/hList1"/>
    <dgm:cxn modelId="{AF2AC046-FED3-4A53-A8FA-92D9785AEA4C}" type="presParOf" srcId="{C92DFE4C-54C8-4857-8CD5-DA2B6465E88B}" destId="{E802CA59-E719-461C-A8DF-2E3B9A157C7C}" srcOrd="1" destOrd="0" presId="urn:microsoft.com/office/officeart/2005/8/layout/hList1"/>
    <dgm:cxn modelId="{DE35CC58-12C3-4AEB-8C78-D5F4ED3DC2FB}" type="presParOf" srcId="{C92DFE4C-54C8-4857-8CD5-DA2B6465E88B}" destId="{6DF05E5B-E21D-429E-9468-9311526424E3}" srcOrd="2" destOrd="0" presId="urn:microsoft.com/office/officeart/2005/8/layout/hList1"/>
    <dgm:cxn modelId="{4F492C33-15CB-46B1-8281-1B8CD51BCC4C}" type="presParOf" srcId="{6DF05E5B-E21D-429E-9468-9311526424E3}" destId="{A1C057C1-A8F1-4BFB-83F1-EF0CC59B6251}" srcOrd="0" destOrd="0" presId="urn:microsoft.com/office/officeart/2005/8/layout/hList1"/>
    <dgm:cxn modelId="{011C091F-EEF3-4229-916D-5A0399BE7271}" type="presParOf" srcId="{6DF05E5B-E21D-429E-9468-9311526424E3}" destId="{669EB5CF-7E72-43BF-A8B8-27435BB06C03}"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D60EFF4-D938-4C7D-8C75-4F48077ADE4B}"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1EF52BFB-82DC-40DB-9A2B-16EFAC64D021}">
      <dgm:prSet/>
      <dgm:spPr/>
      <dgm:t>
        <a:bodyPr/>
        <a:lstStyle/>
        <a:p>
          <a:r>
            <a:rPr lang="en-US" baseline="0"/>
            <a:t>One SQLOS Scheduler per core/logical processor</a:t>
          </a:r>
          <a:endParaRPr lang="en-US"/>
        </a:p>
      </dgm:t>
    </dgm:pt>
    <dgm:pt modelId="{9BA2B76A-8282-4290-B6AC-527C855770DA}" type="parTrans" cxnId="{DB98C7B3-4714-451A-BCFD-9F834A4BE385}">
      <dgm:prSet/>
      <dgm:spPr/>
      <dgm:t>
        <a:bodyPr/>
        <a:lstStyle/>
        <a:p>
          <a:endParaRPr lang="en-US"/>
        </a:p>
      </dgm:t>
    </dgm:pt>
    <dgm:pt modelId="{360A1BF8-0974-4BF8-803D-2E3EC53E8D09}" type="sibTrans" cxnId="{DB98C7B3-4714-451A-BCFD-9F834A4BE385}">
      <dgm:prSet/>
      <dgm:spPr/>
      <dgm:t>
        <a:bodyPr/>
        <a:lstStyle/>
        <a:p>
          <a:endParaRPr lang="en-US"/>
        </a:p>
      </dgm:t>
    </dgm:pt>
    <dgm:pt modelId="{2CF2F0B7-3F90-4441-BAE3-9657D40B953F}">
      <dgm:prSet/>
      <dgm:spPr/>
      <dgm:t>
        <a:bodyPr/>
        <a:lstStyle/>
        <a:p>
          <a:r>
            <a:rPr lang="en-US" baseline="0"/>
            <a:t>Handles scheduling tasks, I/O, and synchronization of resources</a:t>
          </a:r>
          <a:endParaRPr lang="en-US"/>
        </a:p>
      </dgm:t>
    </dgm:pt>
    <dgm:pt modelId="{13BB2AF8-B199-41DB-B38A-E8C2E343C3C7}" type="parTrans" cxnId="{4B630CA3-D950-4E90-9F8B-62C7EF37347A}">
      <dgm:prSet/>
      <dgm:spPr/>
      <dgm:t>
        <a:bodyPr/>
        <a:lstStyle/>
        <a:p>
          <a:endParaRPr lang="en-US"/>
        </a:p>
      </dgm:t>
    </dgm:pt>
    <dgm:pt modelId="{4B5AB871-6EE9-4783-859F-61C5D3055C71}" type="sibTrans" cxnId="{4B630CA3-D950-4E90-9F8B-62C7EF37347A}">
      <dgm:prSet/>
      <dgm:spPr/>
      <dgm:t>
        <a:bodyPr/>
        <a:lstStyle/>
        <a:p>
          <a:endParaRPr lang="en-US"/>
        </a:p>
      </dgm:t>
    </dgm:pt>
    <dgm:pt modelId="{20F0898A-9F21-453E-8321-FD4D24A2C7AA}">
      <dgm:prSet/>
      <dgm:spPr/>
      <dgm:t>
        <a:bodyPr/>
        <a:lstStyle/>
        <a:p>
          <a:r>
            <a:rPr lang="en-US" baseline="0"/>
            <a:t>Work requests are balanced across schedulers based on the number of active tasks</a:t>
          </a:r>
          <a:endParaRPr lang="en-US"/>
        </a:p>
      </dgm:t>
    </dgm:pt>
    <dgm:pt modelId="{A5697BB9-A9B0-4420-AD13-4522A3579464}" type="parTrans" cxnId="{9B14193D-25EA-4247-B2B9-66A74F1FFB75}">
      <dgm:prSet/>
      <dgm:spPr/>
      <dgm:t>
        <a:bodyPr/>
        <a:lstStyle/>
        <a:p>
          <a:endParaRPr lang="en-US"/>
        </a:p>
      </dgm:t>
    </dgm:pt>
    <dgm:pt modelId="{4B1864DD-E8CF-4335-B024-00B83E034A57}" type="sibTrans" cxnId="{9B14193D-25EA-4247-B2B9-66A74F1FFB75}">
      <dgm:prSet/>
      <dgm:spPr/>
      <dgm:t>
        <a:bodyPr/>
        <a:lstStyle/>
        <a:p>
          <a:endParaRPr lang="en-US"/>
        </a:p>
      </dgm:t>
    </dgm:pt>
    <dgm:pt modelId="{6B8BCF0F-8684-4066-8B0E-42FDF758E832}">
      <dgm:prSet/>
      <dgm:spPr/>
      <dgm:t>
        <a:bodyPr/>
        <a:lstStyle/>
        <a:p>
          <a:r>
            <a:rPr lang="en-US" baseline="0"/>
            <a:t>Monitor using sys.dm_os_schedulers</a:t>
          </a:r>
          <a:endParaRPr lang="en-US"/>
        </a:p>
      </dgm:t>
    </dgm:pt>
    <dgm:pt modelId="{FAB89D9C-4434-4284-9A70-CBEE844FA618}" type="parTrans" cxnId="{38869960-1FAF-4306-92D8-84C2856D1651}">
      <dgm:prSet/>
      <dgm:spPr/>
      <dgm:t>
        <a:bodyPr/>
        <a:lstStyle/>
        <a:p>
          <a:endParaRPr lang="en-US"/>
        </a:p>
      </dgm:t>
    </dgm:pt>
    <dgm:pt modelId="{4BD5F852-F3F4-4F5F-86BA-3A422C0CBFE5}" type="sibTrans" cxnId="{38869960-1FAF-4306-92D8-84C2856D1651}">
      <dgm:prSet/>
      <dgm:spPr/>
      <dgm:t>
        <a:bodyPr/>
        <a:lstStyle/>
        <a:p>
          <a:endParaRPr lang="en-US"/>
        </a:p>
      </dgm:t>
    </dgm:pt>
    <dgm:pt modelId="{DCA1F2C0-FC56-4591-9F96-C9CE26A34D6B}">
      <dgm:prSet/>
      <dgm:spPr/>
      <dgm:t>
        <a:bodyPr/>
        <a:lstStyle/>
        <a:p>
          <a:r>
            <a:rPr lang="en-US" baseline="0"/>
            <a:t>Worker Migration – better use of schedulers in SQL Server 2019</a:t>
          </a:r>
          <a:endParaRPr lang="en-US"/>
        </a:p>
      </dgm:t>
    </dgm:pt>
    <dgm:pt modelId="{49EAB872-172F-4168-ACC8-1E440B3A60A0}" type="parTrans" cxnId="{AA7445BC-D7FE-4261-99FE-681DBC6343DB}">
      <dgm:prSet/>
      <dgm:spPr/>
      <dgm:t>
        <a:bodyPr/>
        <a:lstStyle/>
        <a:p>
          <a:endParaRPr lang="en-US"/>
        </a:p>
      </dgm:t>
    </dgm:pt>
    <dgm:pt modelId="{158B7E63-D3AA-4FDB-AD89-C109A85CB7A3}" type="sibTrans" cxnId="{AA7445BC-D7FE-4261-99FE-681DBC6343DB}">
      <dgm:prSet/>
      <dgm:spPr/>
      <dgm:t>
        <a:bodyPr/>
        <a:lstStyle/>
        <a:p>
          <a:endParaRPr lang="en-US"/>
        </a:p>
      </dgm:t>
    </dgm:pt>
    <dgm:pt modelId="{2DEC7192-28D4-4C3A-A9C4-9FBD8515048A}" type="pres">
      <dgm:prSet presAssocID="{DD60EFF4-D938-4C7D-8C75-4F48077ADE4B}" presName="diagram" presStyleCnt="0">
        <dgm:presLayoutVars>
          <dgm:dir/>
          <dgm:resizeHandles val="exact"/>
        </dgm:presLayoutVars>
      </dgm:prSet>
      <dgm:spPr/>
    </dgm:pt>
    <dgm:pt modelId="{F30538EA-FD32-4F11-98AF-48E41511D9CC}" type="pres">
      <dgm:prSet presAssocID="{1EF52BFB-82DC-40DB-9A2B-16EFAC64D021}" presName="node" presStyleLbl="node1" presStyleIdx="0" presStyleCnt="5">
        <dgm:presLayoutVars>
          <dgm:bulletEnabled val="1"/>
        </dgm:presLayoutVars>
      </dgm:prSet>
      <dgm:spPr/>
    </dgm:pt>
    <dgm:pt modelId="{6859C5A1-180A-4F27-87CF-DC4899C41815}" type="pres">
      <dgm:prSet presAssocID="{360A1BF8-0974-4BF8-803D-2E3EC53E8D09}" presName="sibTrans" presStyleCnt="0"/>
      <dgm:spPr/>
    </dgm:pt>
    <dgm:pt modelId="{A72C4992-5AAD-470C-B2FF-7DC5FE70ADD1}" type="pres">
      <dgm:prSet presAssocID="{2CF2F0B7-3F90-4441-BAE3-9657D40B953F}" presName="node" presStyleLbl="node1" presStyleIdx="1" presStyleCnt="5">
        <dgm:presLayoutVars>
          <dgm:bulletEnabled val="1"/>
        </dgm:presLayoutVars>
      </dgm:prSet>
      <dgm:spPr/>
    </dgm:pt>
    <dgm:pt modelId="{06CE8840-FAFC-4F70-A74B-4A717599EF3F}" type="pres">
      <dgm:prSet presAssocID="{4B5AB871-6EE9-4783-859F-61C5D3055C71}" presName="sibTrans" presStyleCnt="0"/>
      <dgm:spPr/>
    </dgm:pt>
    <dgm:pt modelId="{FB3AD4C2-E22E-4317-B905-CE6A7772C3A5}" type="pres">
      <dgm:prSet presAssocID="{20F0898A-9F21-453E-8321-FD4D24A2C7AA}" presName="node" presStyleLbl="node1" presStyleIdx="2" presStyleCnt="5">
        <dgm:presLayoutVars>
          <dgm:bulletEnabled val="1"/>
        </dgm:presLayoutVars>
      </dgm:prSet>
      <dgm:spPr/>
    </dgm:pt>
    <dgm:pt modelId="{377F348B-4945-43E2-AFDD-41D7FB8233A1}" type="pres">
      <dgm:prSet presAssocID="{4B1864DD-E8CF-4335-B024-00B83E034A57}" presName="sibTrans" presStyleCnt="0"/>
      <dgm:spPr/>
    </dgm:pt>
    <dgm:pt modelId="{B9E35828-9A64-4DC0-9438-F07756C8E595}" type="pres">
      <dgm:prSet presAssocID="{6B8BCF0F-8684-4066-8B0E-42FDF758E832}" presName="node" presStyleLbl="node1" presStyleIdx="3" presStyleCnt="5">
        <dgm:presLayoutVars>
          <dgm:bulletEnabled val="1"/>
        </dgm:presLayoutVars>
      </dgm:prSet>
      <dgm:spPr/>
    </dgm:pt>
    <dgm:pt modelId="{FB495CF1-4665-4233-961C-2EB72312BB70}" type="pres">
      <dgm:prSet presAssocID="{4BD5F852-F3F4-4F5F-86BA-3A422C0CBFE5}" presName="sibTrans" presStyleCnt="0"/>
      <dgm:spPr/>
    </dgm:pt>
    <dgm:pt modelId="{063A8F42-5A6C-4304-B66C-D62440FA3426}" type="pres">
      <dgm:prSet presAssocID="{DCA1F2C0-FC56-4591-9F96-C9CE26A34D6B}" presName="node" presStyleLbl="node1" presStyleIdx="4" presStyleCnt="5">
        <dgm:presLayoutVars>
          <dgm:bulletEnabled val="1"/>
        </dgm:presLayoutVars>
      </dgm:prSet>
      <dgm:spPr/>
    </dgm:pt>
  </dgm:ptLst>
  <dgm:cxnLst>
    <dgm:cxn modelId="{DA6BDB1C-DA75-44D9-9BCC-BE32EB940353}" type="presOf" srcId="{DD60EFF4-D938-4C7D-8C75-4F48077ADE4B}" destId="{2DEC7192-28D4-4C3A-A9C4-9FBD8515048A}" srcOrd="0" destOrd="0" presId="urn:microsoft.com/office/officeart/2005/8/layout/default"/>
    <dgm:cxn modelId="{9B14193D-25EA-4247-B2B9-66A74F1FFB75}" srcId="{DD60EFF4-D938-4C7D-8C75-4F48077ADE4B}" destId="{20F0898A-9F21-453E-8321-FD4D24A2C7AA}" srcOrd="2" destOrd="0" parTransId="{A5697BB9-A9B0-4420-AD13-4522A3579464}" sibTransId="{4B1864DD-E8CF-4335-B024-00B83E034A57}"/>
    <dgm:cxn modelId="{38869960-1FAF-4306-92D8-84C2856D1651}" srcId="{DD60EFF4-D938-4C7D-8C75-4F48077ADE4B}" destId="{6B8BCF0F-8684-4066-8B0E-42FDF758E832}" srcOrd="3" destOrd="0" parTransId="{FAB89D9C-4434-4284-9A70-CBEE844FA618}" sibTransId="{4BD5F852-F3F4-4F5F-86BA-3A422C0CBFE5}"/>
    <dgm:cxn modelId="{FB672775-0542-4FCA-BB48-C46D4B676D55}" type="presOf" srcId="{2CF2F0B7-3F90-4441-BAE3-9657D40B953F}" destId="{A72C4992-5AAD-470C-B2FF-7DC5FE70ADD1}" srcOrd="0" destOrd="0" presId="urn:microsoft.com/office/officeart/2005/8/layout/default"/>
    <dgm:cxn modelId="{4B630CA3-D950-4E90-9F8B-62C7EF37347A}" srcId="{DD60EFF4-D938-4C7D-8C75-4F48077ADE4B}" destId="{2CF2F0B7-3F90-4441-BAE3-9657D40B953F}" srcOrd="1" destOrd="0" parTransId="{13BB2AF8-B199-41DB-B38A-E8C2E343C3C7}" sibTransId="{4B5AB871-6EE9-4783-859F-61C5D3055C71}"/>
    <dgm:cxn modelId="{1A12FCA5-5934-4A3C-9DBC-6E09814BC677}" type="presOf" srcId="{6B8BCF0F-8684-4066-8B0E-42FDF758E832}" destId="{B9E35828-9A64-4DC0-9438-F07756C8E595}" srcOrd="0" destOrd="0" presId="urn:microsoft.com/office/officeart/2005/8/layout/default"/>
    <dgm:cxn modelId="{0A4338B2-ADE6-4252-9DA4-874B76377BB9}" type="presOf" srcId="{DCA1F2C0-FC56-4591-9F96-C9CE26A34D6B}" destId="{063A8F42-5A6C-4304-B66C-D62440FA3426}" srcOrd="0" destOrd="0" presId="urn:microsoft.com/office/officeart/2005/8/layout/default"/>
    <dgm:cxn modelId="{DB98C7B3-4714-451A-BCFD-9F834A4BE385}" srcId="{DD60EFF4-D938-4C7D-8C75-4F48077ADE4B}" destId="{1EF52BFB-82DC-40DB-9A2B-16EFAC64D021}" srcOrd="0" destOrd="0" parTransId="{9BA2B76A-8282-4290-B6AC-527C855770DA}" sibTransId="{360A1BF8-0974-4BF8-803D-2E3EC53E8D09}"/>
    <dgm:cxn modelId="{AA7445BC-D7FE-4261-99FE-681DBC6343DB}" srcId="{DD60EFF4-D938-4C7D-8C75-4F48077ADE4B}" destId="{DCA1F2C0-FC56-4591-9F96-C9CE26A34D6B}" srcOrd="4" destOrd="0" parTransId="{49EAB872-172F-4168-ACC8-1E440B3A60A0}" sibTransId="{158B7E63-D3AA-4FDB-AD89-C109A85CB7A3}"/>
    <dgm:cxn modelId="{C780C5C1-A113-44E7-9511-32FE5A27FBC7}" type="presOf" srcId="{20F0898A-9F21-453E-8321-FD4D24A2C7AA}" destId="{FB3AD4C2-E22E-4317-B905-CE6A7772C3A5}" srcOrd="0" destOrd="0" presId="urn:microsoft.com/office/officeart/2005/8/layout/default"/>
    <dgm:cxn modelId="{3C5209E5-15A0-48D7-B924-BAD5C3A2B6BE}" type="presOf" srcId="{1EF52BFB-82DC-40DB-9A2B-16EFAC64D021}" destId="{F30538EA-FD32-4F11-98AF-48E41511D9CC}" srcOrd="0" destOrd="0" presId="urn:microsoft.com/office/officeart/2005/8/layout/default"/>
    <dgm:cxn modelId="{32BF3609-5729-4535-8BE5-5108D1F7AFDF}" type="presParOf" srcId="{2DEC7192-28D4-4C3A-A9C4-9FBD8515048A}" destId="{F30538EA-FD32-4F11-98AF-48E41511D9CC}" srcOrd="0" destOrd="0" presId="urn:microsoft.com/office/officeart/2005/8/layout/default"/>
    <dgm:cxn modelId="{33C340CA-B07F-4091-9BA8-E6E2602E7F84}" type="presParOf" srcId="{2DEC7192-28D4-4C3A-A9C4-9FBD8515048A}" destId="{6859C5A1-180A-4F27-87CF-DC4899C41815}" srcOrd="1" destOrd="0" presId="urn:microsoft.com/office/officeart/2005/8/layout/default"/>
    <dgm:cxn modelId="{A896DB75-497E-48E3-8DF8-5F4368607A38}" type="presParOf" srcId="{2DEC7192-28D4-4C3A-A9C4-9FBD8515048A}" destId="{A72C4992-5AAD-470C-B2FF-7DC5FE70ADD1}" srcOrd="2" destOrd="0" presId="urn:microsoft.com/office/officeart/2005/8/layout/default"/>
    <dgm:cxn modelId="{EC62C9BE-8B7E-4BA0-8BFE-9C3ED11CE953}" type="presParOf" srcId="{2DEC7192-28D4-4C3A-A9C4-9FBD8515048A}" destId="{06CE8840-FAFC-4F70-A74B-4A717599EF3F}" srcOrd="3" destOrd="0" presId="urn:microsoft.com/office/officeart/2005/8/layout/default"/>
    <dgm:cxn modelId="{A8F5A1E9-D631-4C73-AFBD-760D64540CAE}" type="presParOf" srcId="{2DEC7192-28D4-4C3A-A9C4-9FBD8515048A}" destId="{FB3AD4C2-E22E-4317-B905-CE6A7772C3A5}" srcOrd="4" destOrd="0" presId="urn:microsoft.com/office/officeart/2005/8/layout/default"/>
    <dgm:cxn modelId="{EE1FD721-AC40-4C37-8848-EF2FEAF6DC21}" type="presParOf" srcId="{2DEC7192-28D4-4C3A-A9C4-9FBD8515048A}" destId="{377F348B-4945-43E2-AFDD-41D7FB8233A1}" srcOrd="5" destOrd="0" presId="urn:microsoft.com/office/officeart/2005/8/layout/default"/>
    <dgm:cxn modelId="{FDDB564C-D1DF-4248-8D75-672390E705B1}" type="presParOf" srcId="{2DEC7192-28D4-4C3A-A9C4-9FBD8515048A}" destId="{B9E35828-9A64-4DC0-9438-F07756C8E595}" srcOrd="6" destOrd="0" presId="urn:microsoft.com/office/officeart/2005/8/layout/default"/>
    <dgm:cxn modelId="{CC02923C-C93D-4046-9AFE-B27EE0E95F90}" type="presParOf" srcId="{2DEC7192-28D4-4C3A-A9C4-9FBD8515048A}" destId="{FB495CF1-4665-4233-961C-2EB72312BB70}" srcOrd="7" destOrd="0" presId="urn:microsoft.com/office/officeart/2005/8/layout/default"/>
    <dgm:cxn modelId="{A00837C3-BA64-4A05-B6C3-5E34740E646A}" type="presParOf" srcId="{2DEC7192-28D4-4C3A-A9C4-9FBD8515048A}" destId="{063A8F42-5A6C-4304-B66C-D62440FA3426}"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32852996-0D74-481E-B7CB-10B399FC2A0E}" type="doc">
      <dgm:prSet loTypeId="urn:microsoft.com/office/officeart/2005/8/layout/vList2" loCatId="list" qsTypeId="urn:microsoft.com/office/officeart/2005/8/quickstyle/simple1" qsCatId="simple" csTypeId="urn:microsoft.com/office/officeart/2005/8/colors/accent0_2" csCatId="mainScheme" phldr="1"/>
      <dgm:spPr/>
      <dgm:t>
        <a:bodyPr/>
        <a:lstStyle/>
        <a:p>
          <a:endParaRPr lang="en-US"/>
        </a:p>
      </dgm:t>
    </dgm:pt>
    <dgm:pt modelId="{6C804EE8-377D-400A-9FA4-EC7A7409125F}">
      <dgm:prSet custT="1"/>
      <dgm:spPr/>
      <dgm:t>
        <a:bodyPr/>
        <a:lstStyle/>
        <a:p>
          <a:r>
            <a:rPr lang="en-US" sz="2400" baseline="0" dirty="0"/>
            <a:t>SQL Server using a cooperative model to ensure its CPU resources are shared amongst all the threads that are in a runnable state, preventing the ‘starving’ condition of any individual thread.</a:t>
          </a:r>
          <a:endParaRPr lang="en-US" sz="2400" dirty="0"/>
        </a:p>
      </dgm:t>
    </dgm:pt>
    <dgm:pt modelId="{C70FAD56-FB13-424B-AD6E-DB5B9B1DB528}" type="parTrans" cxnId="{F77CF7F4-0A43-4388-8DBC-35682680AA78}">
      <dgm:prSet/>
      <dgm:spPr/>
      <dgm:t>
        <a:bodyPr/>
        <a:lstStyle/>
        <a:p>
          <a:endParaRPr lang="en-US"/>
        </a:p>
      </dgm:t>
    </dgm:pt>
    <dgm:pt modelId="{48611546-24AC-47E7-A871-0A1E68923EE5}" type="sibTrans" cxnId="{F77CF7F4-0A43-4388-8DBC-35682680AA78}">
      <dgm:prSet/>
      <dgm:spPr/>
      <dgm:t>
        <a:bodyPr/>
        <a:lstStyle/>
        <a:p>
          <a:endParaRPr lang="en-US"/>
        </a:p>
      </dgm:t>
    </dgm:pt>
    <dgm:pt modelId="{B901652D-D0A8-43E9-8D29-B443291E9048}">
      <dgm:prSet custT="1"/>
      <dgm:spPr/>
      <dgm:t>
        <a:bodyPr/>
        <a:lstStyle/>
        <a:p>
          <a:r>
            <a:rPr lang="en-US" sz="2400" baseline="0" dirty="0"/>
            <a:t>By design, a worker owns the scheduler until it yields to another worker on the same scheduler.</a:t>
          </a:r>
          <a:endParaRPr lang="en-US" sz="2400" dirty="0"/>
        </a:p>
      </dgm:t>
    </dgm:pt>
    <dgm:pt modelId="{F12F45D7-B270-4F2F-A2C9-52934F202080}" type="parTrans" cxnId="{3F00CBA3-2333-4E4A-A198-B75C7BF9DA85}">
      <dgm:prSet/>
      <dgm:spPr/>
      <dgm:t>
        <a:bodyPr/>
        <a:lstStyle/>
        <a:p>
          <a:endParaRPr lang="en-US"/>
        </a:p>
      </dgm:t>
    </dgm:pt>
    <dgm:pt modelId="{4078F98F-0FE5-459B-A868-1F5A12641746}" type="sibTrans" cxnId="{3F00CBA3-2333-4E4A-A198-B75C7BF9DA85}">
      <dgm:prSet/>
      <dgm:spPr/>
      <dgm:t>
        <a:bodyPr/>
        <a:lstStyle/>
        <a:p>
          <a:endParaRPr lang="en-US"/>
        </a:p>
      </dgm:t>
    </dgm:pt>
    <dgm:pt modelId="{AA53E5E9-DEF6-4359-BF3D-855619BD606D}">
      <dgm:prSet custT="1"/>
      <dgm:spPr/>
      <dgm:t>
        <a:bodyPr/>
        <a:lstStyle/>
        <a:p>
          <a:r>
            <a:rPr lang="en-US" sz="2400" baseline="0" dirty="0"/>
            <a:t>When no worker is currently on the Runnable list, the </a:t>
          </a:r>
          <a:r>
            <a:rPr lang="en-US" sz="2400" b="1" baseline="0" dirty="0"/>
            <a:t>yielding worker is allowed another quantum</a:t>
          </a:r>
          <a:r>
            <a:rPr lang="en-US" sz="2400" baseline="0" dirty="0"/>
            <a:t> or performs the necessary idle scheduler maintenance.</a:t>
          </a:r>
          <a:endParaRPr lang="en-US" sz="2400" dirty="0"/>
        </a:p>
      </dgm:t>
    </dgm:pt>
    <dgm:pt modelId="{2B938D5B-99E4-4509-9644-F068EA9C10AE}" type="parTrans" cxnId="{FF0B22E0-032A-470F-B095-4B0D06B95BA0}">
      <dgm:prSet/>
      <dgm:spPr/>
      <dgm:t>
        <a:bodyPr/>
        <a:lstStyle/>
        <a:p>
          <a:endParaRPr lang="en-US"/>
        </a:p>
      </dgm:t>
    </dgm:pt>
    <dgm:pt modelId="{125784DF-5D7C-4602-93F1-901FEEEA37DE}" type="sibTrans" cxnId="{FF0B22E0-032A-470F-B095-4B0D06B95BA0}">
      <dgm:prSet/>
      <dgm:spPr/>
      <dgm:t>
        <a:bodyPr/>
        <a:lstStyle/>
        <a:p>
          <a:endParaRPr lang="en-US"/>
        </a:p>
      </dgm:t>
    </dgm:pt>
    <dgm:pt modelId="{52E8FBC9-5AB2-4E1A-8BD0-F74CA3DFD749}">
      <dgm:prSet custT="1"/>
      <dgm:spPr/>
      <dgm:t>
        <a:bodyPr/>
        <a:lstStyle/>
        <a:p>
          <a:r>
            <a:rPr lang="en-US" sz="2400" baseline="0" dirty="0"/>
            <a:t>In SQL Server, each thread is assigned a quantum (duration 4ms).</a:t>
          </a:r>
          <a:endParaRPr lang="en-US" sz="2400" dirty="0"/>
        </a:p>
      </dgm:t>
    </dgm:pt>
    <dgm:pt modelId="{65D3A722-5F9F-45BE-A8D4-F5434BE3A018}" type="parTrans" cxnId="{3F0E553E-9FD6-484F-BE6D-E4744DEBF815}">
      <dgm:prSet/>
      <dgm:spPr/>
      <dgm:t>
        <a:bodyPr/>
        <a:lstStyle/>
        <a:p>
          <a:endParaRPr lang="en-US"/>
        </a:p>
      </dgm:t>
    </dgm:pt>
    <dgm:pt modelId="{A885AE4E-0F30-4FF3-A866-9778AE3EAF64}" type="sibTrans" cxnId="{3F0E553E-9FD6-484F-BE6D-E4744DEBF815}">
      <dgm:prSet/>
      <dgm:spPr/>
      <dgm:t>
        <a:bodyPr/>
        <a:lstStyle/>
        <a:p>
          <a:endParaRPr lang="en-US"/>
        </a:p>
      </dgm:t>
    </dgm:pt>
    <dgm:pt modelId="{8F8A770A-45A1-49A4-A5E9-440182343D5D}" type="pres">
      <dgm:prSet presAssocID="{32852996-0D74-481E-B7CB-10B399FC2A0E}" presName="linear" presStyleCnt="0">
        <dgm:presLayoutVars>
          <dgm:animLvl val="lvl"/>
          <dgm:resizeHandles val="exact"/>
        </dgm:presLayoutVars>
      </dgm:prSet>
      <dgm:spPr/>
    </dgm:pt>
    <dgm:pt modelId="{C8B511CA-C1BF-4295-803C-896FFFAB8E86}" type="pres">
      <dgm:prSet presAssocID="{6C804EE8-377D-400A-9FA4-EC7A7409125F}" presName="parentText" presStyleLbl="node1" presStyleIdx="0" presStyleCnt="4" custScaleY="148936">
        <dgm:presLayoutVars>
          <dgm:chMax val="0"/>
          <dgm:bulletEnabled val="1"/>
        </dgm:presLayoutVars>
      </dgm:prSet>
      <dgm:spPr/>
    </dgm:pt>
    <dgm:pt modelId="{618C8460-2D06-4166-B81D-638ACB0FB401}" type="pres">
      <dgm:prSet presAssocID="{48611546-24AC-47E7-A871-0A1E68923EE5}" presName="spacer" presStyleCnt="0"/>
      <dgm:spPr/>
    </dgm:pt>
    <dgm:pt modelId="{120AC486-8256-4CD8-9379-BBA629250A3E}" type="pres">
      <dgm:prSet presAssocID="{52E8FBC9-5AB2-4E1A-8BD0-F74CA3DFD749}" presName="parentText" presStyleLbl="node1" presStyleIdx="1" presStyleCnt="4">
        <dgm:presLayoutVars>
          <dgm:chMax val="0"/>
          <dgm:bulletEnabled val="1"/>
        </dgm:presLayoutVars>
      </dgm:prSet>
      <dgm:spPr/>
    </dgm:pt>
    <dgm:pt modelId="{E1310483-2050-4EC6-A8C9-8C2DEAF01BA4}" type="pres">
      <dgm:prSet presAssocID="{A885AE4E-0F30-4FF3-A866-9778AE3EAF64}" presName="spacer" presStyleCnt="0"/>
      <dgm:spPr/>
    </dgm:pt>
    <dgm:pt modelId="{6EE0CC8D-0EEA-4B31-A639-4B6CFFB3C858}" type="pres">
      <dgm:prSet presAssocID="{B901652D-D0A8-43E9-8D29-B443291E9048}" presName="parentText" presStyleLbl="node1" presStyleIdx="2" presStyleCnt="4">
        <dgm:presLayoutVars>
          <dgm:chMax val="0"/>
          <dgm:bulletEnabled val="1"/>
        </dgm:presLayoutVars>
      </dgm:prSet>
      <dgm:spPr/>
    </dgm:pt>
    <dgm:pt modelId="{4658213F-0556-4660-B124-805360549033}" type="pres">
      <dgm:prSet presAssocID="{4078F98F-0FE5-459B-A868-1F5A12641746}" presName="spacer" presStyleCnt="0"/>
      <dgm:spPr/>
    </dgm:pt>
    <dgm:pt modelId="{EC126341-CE69-4EE0-8D2D-5210154866F5}" type="pres">
      <dgm:prSet presAssocID="{AA53E5E9-DEF6-4359-BF3D-855619BD606D}" presName="parentText" presStyleLbl="node1" presStyleIdx="3" presStyleCnt="4" custScaleY="118010">
        <dgm:presLayoutVars>
          <dgm:chMax val="0"/>
          <dgm:bulletEnabled val="1"/>
        </dgm:presLayoutVars>
      </dgm:prSet>
      <dgm:spPr/>
    </dgm:pt>
  </dgm:ptLst>
  <dgm:cxnLst>
    <dgm:cxn modelId="{69312123-D53A-4582-B595-DBD6D11035D4}" type="presOf" srcId="{32852996-0D74-481E-B7CB-10B399FC2A0E}" destId="{8F8A770A-45A1-49A4-A5E9-440182343D5D}" srcOrd="0" destOrd="0" presId="urn:microsoft.com/office/officeart/2005/8/layout/vList2"/>
    <dgm:cxn modelId="{4F58DC3A-0EC5-4806-8FB1-A4B0637C4746}" type="presOf" srcId="{B901652D-D0A8-43E9-8D29-B443291E9048}" destId="{6EE0CC8D-0EEA-4B31-A639-4B6CFFB3C858}" srcOrd="0" destOrd="0" presId="urn:microsoft.com/office/officeart/2005/8/layout/vList2"/>
    <dgm:cxn modelId="{3F0E553E-9FD6-484F-BE6D-E4744DEBF815}" srcId="{32852996-0D74-481E-B7CB-10B399FC2A0E}" destId="{52E8FBC9-5AB2-4E1A-8BD0-F74CA3DFD749}" srcOrd="1" destOrd="0" parTransId="{65D3A722-5F9F-45BE-A8D4-F5434BE3A018}" sibTransId="{A885AE4E-0F30-4FF3-A866-9778AE3EAF64}"/>
    <dgm:cxn modelId="{AA47406D-98D4-4E52-BBDD-F9F332B13955}" type="presOf" srcId="{52E8FBC9-5AB2-4E1A-8BD0-F74CA3DFD749}" destId="{120AC486-8256-4CD8-9379-BBA629250A3E}" srcOrd="0" destOrd="0" presId="urn:microsoft.com/office/officeart/2005/8/layout/vList2"/>
    <dgm:cxn modelId="{D08094A2-0A7F-41CE-A4D2-721A4E7D6F61}" type="presOf" srcId="{AA53E5E9-DEF6-4359-BF3D-855619BD606D}" destId="{EC126341-CE69-4EE0-8D2D-5210154866F5}" srcOrd="0" destOrd="0" presId="urn:microsoft.com/office/officeart/2005/8/layout/vList2"/>
    <dgm:cxn modelId="{3F00CBA3-2333-4E4A-A198-B75C7BF9DA85}" srcId="{32852996-0D74-481E-B7CB-10B399FC2A0E}" destId="{B901652D-D0A8-43E9-8D29-B443291E9048}" srcOrd="2" destOrd="0" parTransId="{F12F45D7-B270-4F2F-A2C9-52934F202080}" sibTransId="{4078F98F-0FE5-459B-A868-1F5A12641746}"/>
    <dgm:cxn modelId="{83F4F1B4-937B-481B-B85F-3446BFFC85A5}" type="presOf" srcId="{6C804EE8-377D-400A-9FA4-EC7A7409125F}" destId="{C8B511CA-C1BF-4295-803C-896FFFAB8E86}" srcOrd="0" destOrd="0" presId="urn:microsoft.com/office/officeart/2005/8/layout/vList2"/>
    <dgm:cxn modelId="{FF0B22E0-032A-470F-B095-4B0D06B95BA0}" srcId="{32852996-0D74-481E-B7CB-10B399FC2A0E}" destId="{AA53E5E9-DEF6-4359-BF3D-855619BD606D}" srcOrd="3" destOrd="0" parTransId="{2B938D5B-99E4-4509-9644-F068EA9C10AE}" sibTransId="{125784DF-5D7C-4602-93F1-901FEEEA37DE}"/>
    <dgm:cxn modelId="{F77CF7F4-0A43-4388-8DBC-35682680AA78}" srcId="{32852996-0D74-481E-B7CB-10B399FC2A0E}" destId="{6C804EE8-377D-400A-9FA4-EC7A7409125F}" srcOrd="0" destOrd="0" parTransId="{C70FAD56-FB13-424B-AD6E-DB5B9B1DB528}" sibTransId="{48611546-24AC-47E7-A871-0A1E68923EE5}"/>
    <dgm:cxn modelId="{83428A4A-8AFE-4A83-BD3D-EE7D0BE969FA}" type="presParOf" srcId="{8F8A770A-45A1-49A4-A5E9-440182343D5D}" destId="{C8B511CA-C1BF-4295-803C-896FFFAB8E86}" srcOrd="0" destOrd="0" presId="urn:microsoft.com/office/officeart/2005/8/layout/vList2"/>
    <dgm:cxn modelId="{111DD76D-110F-4037-9661-A2C1365DE936}" type="presParOf" srcId="{8F8A770A-45A1-49A4-A5E9-440182343D5D}" destId="{618C8460-2D06-4166-B81D-638ACB0FB401}" srcOrd="1" destOrd="0" presId="urn:microsoft.com/office/officeart/2005/8/layout/vList2"/>
    <dgm:cxn modelId="{F52506C9-952C-423D-BBAB-AAA32C971AA6}" type="presParOf" srcId="{8F8A770A-45A1-49A4-A5E9-440182343D5D}" destId="{120AC486-8256-4CD8-9379-BBA629250A3E}" srcOrd="2" destOrd="0" presId="urn:microsoft.com/office/officeart/2005/8/layout/vList2"/>
    <dgm:cxn modelId="{269BC2E9-0072-4454-BBA8-0E66728E7D26}" type="presParOf" srcId="{8F8A770A-45A1-49A4-A5E9-440182343D5D}" destId="{E1310483-2050-4EC6-A8C9-8C2DEAF01BA4}" srcOrd="3" destOrd="0" presId="urn:microsoft.com/office/officeart/2005/8/layout/vList2"/>
    <dgm:cxn modelId="{3D54BBB9-19A4-4905-80DC-A28E9177BA89}" type="presParOf" srcId="{8F8A770A-45A1-49A4-A5E9-440182343D5D}" destId="{6EE0CC8D-0EEA-4B31-A639-4B6CFFB3C858}" srcOrd="4" destOrd="0" presId="urn:microsoft.com/office/officeart/2005/8/layout/vList2"/>
    <dgm:cxn modelId="{64048822-7D73-4997-B7F0-D5AEDDF910A4}" type="presParOf" srcId="{8F8A770A-45A1-49A4-A5E9-440182343D5D}" destId="{4658213F-0556-4660-B124-805360549033}" srcOrd="5" destOrd="0" presId="urn:microsoft.com/office/officeart/2005/8/layout/vList2"/>
    <dgm:cxn modelId="{9DDA7C99-2E36-40D2-82EA-4A8DFDC4762E}" type="presParOf" srcId="{8F8A770A-45A1-49A4-A5E9-440182343D5D}" destId="{EC126341-CE69-4EE0-8D2D-5210154866F5}"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1DCBEA9-87D6-493A-9CF2-E87BDBDE8E22}" type="doc">
      <dgm:prSet loTypeId="urn:microsoft.com/office/officeart/2005/8/layout/vList2" loCatId="list" qsTypeId="urn:microsoft.com/office/officeart/2005/8/quickstyle/simple2" qsCatId="simple" csTypeId="urn:microsoft.com/office/officeart/2005/8/colors/accent0_2" csCatId="mainScheme" phldr="1"/>
      <dgm:spPr/>
      <dgm:t>
        <a:bodyPr/>
        <a:lstStyle/>
        <a:p>
          <a:endParaRPr lang="en-US"/>
        </a:p>
      </dgm:t>
    </dgm:pt>
    <dgm:pt modelId="{01021F09-2D1F-4D03-B46D-943823055552}">
      <dgm:prSet custT="1"/>
      <dgm:spPr/>
      <dgm:t>
        <a:bodyPr/>
        <a:lstStyle/>
        <a:p>
          <a:r>
            <a:rPr lang="en-GB" sz="2800" b="1" dirty="0"/>
            <a:t>Runnable: </a:t>
          </a:r>
          <a:r>
            <a:rPr lang="en-GB" sz="2800" b="0" dirty="0"/>
            <a:t>The thread is currently in the Runnable Queue waiting to execute. (First In, First Out). </a:t>
          </a:r>
          <a:endParaRPr lang="en-US" sz="2800" dirty="0"/>
        </a:p>
      </dgm:t>
    </dgm:pt>
    <dgm:pt modelId="{B6EE58E1-780D-4FFB-8080-2277ED422268}" type="sibTrans" cxnId="{DC458517-008E-491D-9CC1-EC898C7BE308}">
      <dgm:prSet/>
      <dgm:spPr/>
      <dgm:t>
        <a:bodyPr/>
        <a:lstStyle/>
        <a:p>
          <a:endParaRPr lang="en-US"/>
        </a:p>
      </dgm:t>
    </dgm:pt>
    <dgm:pt modelId="{BD316740-22E8-4D35-BB2E-B151094E3349}" type="parTrans" cxnId="{DC458517-008E-491D-9CC1-EC898C7BE308}">
      <dgm:prSet/>
      <dgm:spPr/>
      <dgm:t>
        <a:bodyPr/>
        <a:lstStyle/>
        <a:p>
          <a:endParaRPr lang="en-US"/>
        </a:p>
      </dgm:t>
    </dgm:pt>
    <dgm:pt modelId="{AA931836-67EC-4C25-BD7C-03AE368C6DE3}">
      <dgm:prSet custT="1"/>
      <dgm:spPr/>
      <dgm:t>
        <a:bodyPr/>
        <a:lstStyle/>
        <a:p>
          <a:r>
            <a:rPr lang="en-GB" sz="2800" b="1" dirty="0"/>
            <a:t>Running: </a:t>
          </a:r>
          <a:r>
            <a:rPr lang="en-GB" sz="2800" dirty="0"/>
            <a:t>One active thread executing on a processor. </a:t>
          </a:r>
          <a:endParaRPr lang="en-US" sz="2800" dirty="0"/>
        </a:p>
      </dgm:t>
    </dgm:pt>
    <dgm:pt modelId="{B2538DD4-1D4E-4674-A610-22F8C381980D}" type="parTrans" cxnId="{9767E367-7897-46A7-B23F-0DCCF99666B5}">
      <dgm:prSet/>
      <dgm:spPr/>
      <dgm:t>
        <a:bodyPr/>
        <a:lstStyle/>
        <a:p>
          <a:endParaRPr lang="en-US"/>
        </a:p>
      </dgm:t>
    </dgm:pt>
    <dgm:pt modelId="{297D9F4C-0808-42EA-84BB-272EC62A69E6}" type="sibTrans" cxnId="{9767E367-7897-46A7-B23F-0DCCF99666B5}">
      <dgm:prSet/>
      <dgm:spPr/>
      <dgm:t>
        <a:bodyPr/>
        <a:lstStyle/>
        <a:p>
          <a:endParaRPr lang="en-US"/>
        </a:p>
      </dgm:t>
    </dgm:pt>
    <dgm:pt modelId="{6257F6B1-71E7-400C-AAE9-B78DAF42AAA9}">
      <dgm:prSet custT="1"/>
      <dgm:spPr/>
      <dgm:t>
        <a:bodyPr/>
        <a:lstStyle/>
        <a:p>
          <a:r>
            <a:rPr lang="en-GB" sz="2800" b="1" dirty="0"/>
            <a:t>Suspended: </a:t>
          </a:r>
          <a:r>
            <a:rPr lang="en-GB" sz="2800" b="0" dirty="0"/>
            <a:t>Placed on a Waiter List waiting for a resource other than a processor. (No specific order).</a:t>
          </a:r>
          <a:endParaRPr lang="en-US" sz="2800" dirty="0"/>
        </a:p>
      </dgm:t>
    </dgm:pt>
    <dgm:pt modelId="{13AC8EEF-F1E3-4F2C-B36B-555CD2A070A0}" type="parTrans" cxnId="{4EE89B7C-D610-404B-81EA-CB1052AF7EF7}">
      <dgm:prSet/>
      <dgm:spPr/>
      <dgm:t>
        <a:bodyPr/>
        <a:lstStyle/>
        <a:p>
          <a:endParaRPr lang="en-US"/>
        </a:p>
      </dgm:t>
    </dgm:pt>
    <dgm:pt modelId="{C981F7D8-194D-4534-BC92-07C9F82551F8}" type="sibTrans" cxnId="{4EE89B7C-D610-404B-81EA-CB1052AF7EF7}">
      <dgm:prSet/>
      <dgm:spPr/>
      <dgm:t>
        <a:bodyPr/>
        <a:lstStyle/>
        <a:p>
          <a:endParaRPr lang="en-US"/>
        </a:p>
      </dgm:t>
    </dgm:pt>
    <dgm:pt modelId="{99BFF411-CC4F-4F26-9A66-F5F2C462B78B}" type="pres">
      <dgm:prSet presAssocID="{C1DCBEA9-87D6-493A-9CF2-E87BDBDE8E22}" presName="linear" presStyleCnt="0">
        <dgm:presLayoutVars>
          <dgm:animLvl val="lvl"/>
          <dgm:resizeHandles val="exact"/>
        </dgm:presLayoutVars>
      </dgm:prSet>
      <dgm:spPr/>
    </dgm:pt>
    <dgm:pt modelId="{15CD9A8C-3E0A-4D13-A7FE-D583CD7C92AF}" type="pres">
      <dgm:prSet presAssocID="{01021F09-2D1F-4D03-B46D-943823055552}" presName="parentText" presStyleLbl="node1" presStyleIdx="0" presStyleCnt="3">
        <dgm:presLayoutVars>
          <dgm:chMax val="0"/>
          <dgm:bulletEnabled val="1"/>
        </dgm:presLayoutVars>
      </dgm:prSet>
      <dgm:spPr/>
    </dgm:pt>
    <dgm:pt modelId="{FCBEA8A0-9BF0-4EEA-8677-AEB54DE00D0C}" type="pres">
      <dgm:prSet presAssocID="{B6EE58E1-780D-4FFB-8080-2277ED422268}" presName="spacer" presStyleCnt="0"/>
      <dgm:spPr/>
    </dgm:pt>
    <dgm:pt modelId="{6B847B8C-D7F0-4974-8DFF-2B5BA70AB85F}" type="pres">
      <dgm:prSet presAssocID="{AA931836-67EC-4C25-BD7C-03AE368C6DE3}" presName="parentText" presStyleLbl="node1" presStyleIdx="1" presStyleCnt="3">
        <dgm:presLayoutVars>
          <dgm:chMax val="0"/>
          <dgm:bulletEnabled val="1"/>
        </dgm:presLayoutVars>
      </dgm:prSet>
      <dgm:spPr/>
    </dgm:pt>
    <dgm:pt modelId="{8A8EA9BB-1594-4664-BE33-E2CAD20E9CB3}" type="pres">
      <dgm:prSet presAssocID="{297D9F4C-0808-42EA-84BB-272EC62A69E6}" presName="spacer" presStyleCnt="0"/>
      <dgm:spPr/>
    </dgm:pt>
    <dgm:pt modelId="{C33A9ECD-F177-41F7-B563-4EDE05550E66}" type="pres">
      <dgm:prSet presAssocID="{6257F6B1-71E7-400C-AAE9-B78DAF42AAA9}" presName="parentText" presStyleLbl="node1" presStyleIdx="2" presStyleCnt="3" custLinFactNeighborY="0">
        <dgm:presLayoutVars>
          <dgm:chMax val="0"/>
          <dgm:bulletEnabled val="1"/>
        </dgm:presLayoutVars>
      </dgm:prSet>
      <dgm:spPr/>
    </dgm:pt>
  </dgm:ptLst>
  <dgm:cxnLst>
    <dgm:cxn modelId="{DC458517-008E-491D-9CC1-EC898C7BE308}" srcId="{C1DCBEA9-87D6-493A-9CF2-E87BDBDE8E22}" destId="{01021F09-2D1F-4D03-B46D-943823055552}" srcOrd="0" destOrd="0" parTransId="{BD316740-22E8-4D35-BB2E-B151094E3349}" sibTransId="{B6EE58E1-780D-4FFB-8080-2277ED422268}"/>
    <dgm:cxn modelId="{C67D2937-A6D5-44BF-8A8B-2316FB2AB51D}" type="presOf" srcId="{AA931836-67EC-4C25-BD7C-03AE368C6DE3}" destId="{6B847B8C-D7F0-4974-8DFF-2B5BA70AB85F}" srcOrd="0" destOrd="0" presId="urn:microsoft.com/office/officeart/2005/8/layout/vList2"/>
    <dgm:cxn modelId="{2DE8853E-2203-47B7-91E0-375A9139E7EF}" type="presOf" srcId="{C1DCBEA9-87D6-493A-9CF2-E87BDBDE8E22}" destId="{99BFF411-CC4F-4F26-9A66-F5F2C462B78B}" srcOrd="0" destOrd="0" presId="urn:microsoft.com/office/officeart/2005/8/layout/vList2"/>
    <dgm:cxn modelId="{9767E367-7897-46A7-B23F-0DCCF99666B5}" srcId="{C1DCBEA9-87D6-493A-9CF2-E87BDBDE8E22}" destId="{AA931836-67EC-4C25-BD7C-03AE368C6DE3}" srcOrd="1" destOrd="0" parTransId="{B2538DD4-1D4E-4674-A610-22F8C381980D}" sibTransId="{297D9F4C-0808-42EA-84BB-272EC62A69E6}"/>
    <dgm:cxn modelId="{4EE89B7C-D610-404B-81EA-CB1052AF7EF7}" srcId="{C1DCBEA9-87D6-493A-9CF2-E87BDBDE8E22}" destId="{6257F6B1-71E7-400C-AAE9-B78DAF42AAA9}" srcOrd="2" destOrd="0" parTransId="{13AC8EEF-F1E3-4F2C-B36B-555CD2A070A0}" sibTransId="{C981F7D8-194D-4534-BC92-07C9F82551F8}"/>
    <dgm:cxn modelId="{62B2927F-C16E-4662-A943-F2264DA06C42}" type="presOf" srcId="{01021F09-2D1F-4D03-B46D-943823055552}" destId="{15CD9A8C-3E0A-4D13-A7FE-D583CD7C92AF}" srcOrd="0" destOrd="0" presId="urn:microsoft.com/office/officeart/2005/8/layout/vList2"/>
    <dgm:cxn modelId="{2BCAF5B1-720B-4098-A690-6670C8221EE1}" type="presOf" srcId="{6257F6B1-71E7-400C-AAE9-B78DAF42AAA9}" destId="{C33A9ECD-F177-41F7-B563-4EDE05550E66}" srcOrd="0" destOrd="0" presId="urn:microsoft.com/office/officeart/2005/8/layout/vList2"/>
    <dgm:cxn modelId="{F4F3871C-EA4A-41B8-9B71-9101E89F127D}" type="presParOf" srcId="{99BFF411-CC4F-4F26-9A66-F5F2C462B78B}" destId="{15CD9A8C-3E0A-4D13-A7FE-D583CD7C92AF}" srcOrd="0" destOrd="0" presId="urn:microsoft.com/office/officeart/2005/8/layout/vList2"/>
    <dgm:cxn modelId="{8C22D1AD-F218-4E19-8707-D301395B57C4}" type="presParOf" srcId="{99BFF411-CC4F-4F26-9A66-F5F2C462B78B}" destId="{FCBEA8A0-9BF0-4EEA-8677-AEB54DE00D0C}" srcOrd="1" destOrd="0" presId="urn:microsoft.com/office/officeart/2005/8/layout/vList2"/>
    <dgm:cxn modelId="{4CC35A04-4285-45DD-9C15-9C8828CE46F9}" type="presParOf" srcId="{99BFF411-CC4F-4F26-9A66-F5F2C462B78B}" destId="{6B847B8C-D7F0-4974-8DFF-2B5BA70AB85F}" srcOrd="2" destOrd="0" presId="urn:microsoft.com/office/officeart/2005/8/layout/vList2"/>
    <dgm:cxn modelId="{AF04B546-1C9E-4A2B-9FEC-AD29344A0675}" type="presParOf" srcId="{99BFF411-CC4F-4F26-9A66-F5F2C462B78B}" destId="{8A8EA9BB-1594-4664-BE33-E2CAD20E9CB3}" srcOrd="3" destOrd="0" presId="urn:microsoft.com/office/officeart/2005/8/layout/vList2"/>
    <dgm:cxn modelId="{347CE678-B1FD-453F-A5F9-3AFD358D931D}" type="presParOf" srcId="{99BFF411-CC4F-4F26-9A66-F5F2C462B78B}" destId="{C33A9ECD-F177-41F7-B563-4EDE05550E66}" srcOrd="4" destOrd="0" presId="urn:microsoft.com/office/officeart/2005/8/layout/vList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List three reasons a scheduler might yield?</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is a quantum?</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y does SQL Server use cooperative scheduling?</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E132100-0470-40B7-A8E6-6DBEEC8F85EA}" type="doc">
      <dgm:prSet loTypeId="urn:microsoft.com/office/officeart/2008/layout/VerticalCurvedList" loCatId="list" qsTypeId="urn:microsoft.com/office/officeart/2005/8/quickstyle/simple1" qsCatId="simple" csTypeId="urn:microsoft.com/office/officeart/2005/8/colors/colorful2" csCatId="colorful"/>
      <dgm:spPr/>
      <dgm:t>
        <a:bodyPr/>
        <a:lstStyle/>
        <a:p>
          <a:endParaRPr lang="en-US"/>
        </a:p>
      </dgm:t>
    </dgm:pt>
    <dgm:pt modelId="{072FA309-782A-431D-B584-C1A7FC258A00}">
      <dgm:prSet/>
      <dgm:spPr/>
      <dgm:t>
        <a:bodyPr/>
        <a:lstStyle/>
        <a:p>
          <a:r>
            <a:rPr lang="en-US" baseline="0"/>
            <a:t>Troubleshooting methodology to identify resource bottlenecks.</a:t>
          </a:r>
          <a:endParaRPr lang="en-US"/>
        </a:p>
      </dgm:t>
    </dgm:pt>
    <dgm:pt modelId="{3C887387-232D-4391-B697-DAB6359FA216}" type="parTrans" cxnId="{B91AE603-7DE6-41C5-9DD1-C2E7B0EBDC85}">
      <dgm:prSet/>
      <dgm:spPr/>
      <dgm:t>
        <a:bodyPr/>
        <a:lstStyle/>
        <a:p>
          <a:endParaRPr lang="en-US"/>
        </a:p>
      </dgm:t>
    </dgm:pt>
    <dgm:pt modelId="{1D8D9085-C444-48F7-9E0F-C5B0BB20C2BA}" type="sibTrans" cxnId="{B91AE603-7DE6-41C5-9DD1-C2E7B0EBDC85}">
      <dgm:prSet/>
      <dgm:spPr/>
      <dgm:t>
        <a:bodyPr/>
        <a:lstStyle/>
        <a:p>
          <a:endParaRPr lang="en-US"/>
        </a:p>
      </dgm:t>
    </dgm:pt>
    <dgm:pt modelId="{364C0827-5695-468E-8402-4ED887680B9C}">
      <dgm:prSet/>
      <dgm:spPr/>
      <dgm:t>
        <a:bodyPr/>
        <a:lstStyle/>
        <a:p>
          <a:r>
            <a:rPr lang="en-US" baseline="0"/>
            <a:t>SQL Server maintains the state in which workers wait.</a:t>
          </a:r>
          <a:endParaRPr lang="en-US"/>
        </a:p>
      </dgm:t>
    </dgm:pt>
    <dgm:pt modelId="{9A9CB8CE-6365-4133-8E86-C95D04A56BFE}" type="parTrans" cxnId="{E29FFE80-DC9B-439F-BA87-2D463D57EFCE}">
      <dgm:prSet/>
      <dgm:spPr/>
      <dgm:t>
        <a:bodyPr/>
        <a:lstStyle/>
        <a:p>
          <a:endParaRPr lang="en-US"/>
        </a:p>
      </dgm:t>
    </dgm:pt>
    <dgm:pt modelId="{EBFDE015-84A0-49C4-BA7F-EF29B960D49C}" type="sibTrans" cxnId="{E29FFE80-DC9B-439F-BA87-2D463D57EFCE}">
      <dgm:prSet/>
      <dgm:spPr/>
      <dgm:t>
        <a:bodyPr/>
        <a:lstStyle/>
        <a:p>
          <a:endParaRPr lang="en-US"/>
        </a:p>
      </dgm:t>
    </dgm:pt>
    <dgm:pt modelId="{59298F07-C3D9-4A4C-8BC4-52661060F832}">
      <dgm:prSet/>
      <dgm:spPr/>
      <dgm:t>
        <a:bodyPr/>
        <a:lstStyle/>
        <a:p>
          <a:r>
            <a:rPr lang="en-US" baseline="0"/>
            <a:t>Waits are represented by the SQL Server wait statistics; tracking waits over time.</a:t>
          </a:r>
          <a:endParaRPr lang="en-US"/>
        </a:p>
      </dgm:t>
    </dgm:pt>
    <dgm:pt modelId="{278BE5D5-901D-4C4D-A2FF-0957294DCAA8}" type="parTrans" cxnId="{D1E72586-FF46-4CC8-AD87-D1E8C0FEA219}">
      <dgm:prSet/>
      <dgm:spPr/>
      <dgm:t>
        <a:bodyPr/>
        <a:lstStyle/>
        <a:p>
          <a:endParaRPr lang="en-US"/>
        </a:p>
      </dgm:t>
    </dgm:pt>
    <dgm:pt modelId="{349014B1-DE49-47BC-BDB1-8C7B536B6FD7}" type="sibTrans" cxnId="{D1E72586-FF46-4CC8-AD87-D1E8C0FEA219}">
      <dgm:prSet/>
      <dgm:spPr/>
      <dgm:t>
        <a:bodyPr/>
        <a:lstStyle/>
        <a:p>
          <a:endParaRPr lang="en-US"/>
        </a:p>
      </dgm:t>
    </dgm:pt>
    <dgm:pt modelId="{12A03ED1-F2F5-48DB-9FCD-9D938B3BBC30}">
      <dgm:prSet/>
      <dgm:spPr/>
      <dgm:t>
        <a:bodyPr/>
        <a:lstStyle/>
        <a:p>
          <a:r>
            <a:rPr lang="en-US" baseline="0"/>
            <a:t>Queues are represented by performance objects and counters.</a:t>
          </a:r>
          <a:endParaRPr lang="en-US"/>
        </a:p>
      </dgm:t>
    </dgm:pt>
    <dgm:pt modelId="{D029FF07-E014-4917-9DBB-2B8073791D43}" type="parTrans" cxnId="{723416D3-7476-4A7D-8326-61E7C31768D0}">
      <dgm:prSet/>
      <dgm:spPr/>
      <dgm:t>
        <a:bodyPr/>
        <a:lstStyle/>
        <a:p>
          <a:endParaRPr lang="en-US"/>
        </a:p>
      </dgm:t>
    </dgm:pt>
    <dgm:pt modelId="{30202A8B-2383-4B28-B958-5E2A9C8EEEA3}" type="sibTrans" cxnId="{723416D3-7476-4A7D-8326-61E7C31768D0}">
      <dgm:prSet/>
      <dgm:spPr/>
      <dgm:t>
        <a:bodyPr/>
        <a:lstStyle/>
        <a:p>
          <a:endParaRPr lang="en-US"/>
        </a:p>
      </dgm:t>
    </dgm:pt>
    <dgm:pt modelId="{EEF1417D-6A01-47C9-A06B-CCDEE894CF73}" type="pres">
      <dgm:prSet presAssocID="{9E132100-0470-40B7-A8E6-6DBEEC8F85EA}" presName="Name0" presStyleCnt="0">
        <dgm:presLayoutVars>
          <dgm:chMax val="7"/>
          <dgm:chPref val="7"/>
          <dgm:dir/>
        </dgm:presLayoutVars>
      </dgm:prSet>
      <dgm:spPr/>
    </dgm:pt>
    <dgm:pt modelId="{0CFBCEC6-913B-4BAE-B9E3-2601B55F785B}" type="pres">
      <dgm:prSet presAssocID="{9E132100-0470-40B7-A8E6-6DBEEC8F85EA}" presName="Name1" presStyleCnt="0"/>
      <dgm:spPr/>
    </dgm:pt>
    <dgm:pt modelId="{7D7D3BA5-3227-41DB-B5CE-929D0B4BCF57}" type="pres">
      <dgm:prSet presAssocID="{9E132100-0470-40B7-A8E6-6DBEEC8F85EA}" presName="cycle" presStyleCnt="0"/>
      <dgm:spPr/>
    </dgm:pt>
    <dgm:pt modelId="{593D78D2-9DF9-4235-9E13-1D5F2B7D9BD0}" type="pres">
      <dgm:prSet presAssocID="{9E132100-0470-40B7-A8E6-6DBEEC8F85EA}" presName="srcNode" presStyleLbl="node1" presStyleIdx="0" presStyleCnt="4"/>
      <dgm:spPr/>
    </dgm:pt>
    <dgm:pt modelId="{A05B37A8-CE14-4E1B-940F-3DD88250DA1A}" type="pres">
      <dgm:prSet presAssocID="{9E132100-0470-40B7-A8E6-6DBEEC8F85EA}" presName="conn" presStyleLbl="parChTrans1D2" presStyleIdx="0" presStyleCnt="1"/>
      <dgm:spPr/>
    </dgm:pt>
    <dgm:pt modelId="{52E73943-54AE-49A9-AE8B-2B196EFB4586}" type="pres">
      <dgm:prSet presAssocID="{9E132100-0470-40B7-A8E6-6DBEEC8F85EA}" presName="extraNode" presStyleLbl="node1" presStyleIdx="0" presStyleCnt="4"/>
      <dgm:spPr/>
    </dgm:pt>
    <dgm:pt modelId="{04F88E18-0155-4371-9B32-CC269A0C303C}" type="pres">
      <dgm:prSet presAssocID="{9E132100-0470-40B7-A8E6-6DBEEC8F85EA}" presName="dstNode" presStyleLbl="node1" presStyleIdx="0" presStyleCnt="4"/>
      <dgm:spPr/>
    </dgm:pt>
    <dgm:pt modelId="{F67B6145-3C04-468A-A4C1-F34B906D01D1}" type="pres">
      <dgm:prSet presAssocID="{072FA309-782A-431D-B584-C1A7FC258A00}" presName="text_1" presStyleLbl="node1" presStyleIdx="0" presStyleCnt="4">
        <dgm:presLayoutVars>
          <dgm:bulletEnabled val="1"/>
        </dgm:presLayoutVars>
      </dgm:prSet>
      <dgm:spPr/>
    </dgm:pt>
    <dgm:pt modelId="{C29DFE64-EBCC-4934-8C99-55374BF6A692}" type="pres">
      <dgm:prSet presAssocID="{072FA309-782A-431D-B584-C1A7FC258A00}" presName="accent_1" presStyleCnt="0"/>
      <dgm:spPr/>
    </dgm:pt>
    <dgm:pt modelId="{EA789D9B-79AF-40A6-8354-6E0DB3438074}" type="pres">
      <dgm:prSet presAssocID="{072FA309-782A-431D-B584-C1A7FC258A00}" presName="accentRepeatNode" presStyleLbl="solidFgAcc1" presStyleIdx="0" presStyleCnt="4"/>
      <dgm:spPr/>
    </dgm:pt>
    <dgm:pt modelId="{B609AC65-467E-497D-BF7A-4AECAB2052C7}" type="pres">
      <dgm:prSet presAssocID="{364C0827-5695-468E-8402-4ED887680B9C}" presName="text_2" presStyleLbl="node1" presStyleIdx="1" presStyleCnt="4">
        <dgm:presLayoutVars>
          <dgm:bulletEnabled val="1"/>
        </dgm:presLayoutVars>
      </dgm:prSet>
      <dgm:spPr/>
    </dgm:pt>
    <dgm:pt modelId="{6A671C03-C2B8-47D4-925A-F11C2B0272BC}" type="pres">
      <dgm:prSet presAssocID="{364C0827-5695-468E-8402-4ED887680B9C}" presName="accent_2" presStyleCnt="0"/>
      <dgm:spPr/>
    </dgm:pt>
    <dgm:pt modelId="{D332BF79-271C-4DCB-A41E-A2BF0171722F}" type="pres">
      <dgm:prSet presAssocID="{364C0827-5695-468E-8402-4ED887680B9C}" presName="accentRepeatNode" presStyleLbl="solidFgAcc1" presStyleIdx="1" presStyleCnt="4"/>
      <dgm:spPr/>
    </dgm:pt>
    <dgm:pt modelId="{304BBB36-A537-46B1-B432-E7720752E8BD}" type="pres">
      <dgm:prSet presAssocID="{59298F07-C3D9-4A4C-8BC4-52661060F832}" presName="text_3" presStyleLbl="node1" presStyleIdx="2" presStyleCnt="4">
        <dgm:presLayoutVars>
          <dgm:bulletEnabled val="1"/>
        </dgm:presLayoutVars>
      </dgm:prSet>
      <dgm:spPr/>
    </dgm:pt>
    <dgm:pt modelId="{B689474D-0C2F-4FD9-B43B-33ABC4FD556C}" type="pres">
      <dgm:prSet presAssocID="{59298F07-C3D9-4A4C-8BC4-52661060F832}" presName="accent_3" presStyleCnt="0"/>
      <dgm:spPr/>
    </dgm:pt>
    <dgm:pt modelId="{9943A29A-0ADA-4AD0-BE2D-3C48E671F264}" type="pres">
      <dgm:prSet presAssocID="{59298F07-C3D9-4A4C-8BC4-52661060F832}" presName="accentRepeatNode" presStyleLbl="solidFgAcc1" presStyleIdx="2" presStyleCnt="4"/>
      <dgm:spPr/>
    </dgm:pt>
    <dgm:pt modelId="{CFA9F5AB-C6F5-4790-96FE-D7058348E63C}" type="pres">
      <dgm:prSet presAssocID="{12A03ED1-F2F5-48DB-9FCD-9D938B3BBC30}" presName="text_4" presStyleLbl="node1" presStyleIdx="3" presStyleCnt="4">
        <dgm:presLayoutVars>
          <dgm:bulletEnabled val="1"/>
        </dgm:presLayoutVars>
      </dgm:prSet>
      <dgm:spPr/>
    </dgm:pt>
    <dgm:pt modelId="{60F227EB-9B22-45E8-9ED9-C5E9024301B4}" type="pres">
      <dgm:prSet presAssocID="{12A03ED1-F2F5-48DB-9FCD-9D938B3BBC30}" presName="accent_4" presStyleCnt="0"/>
      <dgm:spPr/>
    </dgm:pt>
    <dgm:pt modelId="{B5724A4D-6C20-451A-A3A1-6E065DD4A618}" type="pres">
      <dgm:prSet presAssocID="{12A03ED1-F2F5-48DB-9FCD-9D938B3BBC30}" presName="accentRepeatNode" presStyleLbl="solidFgAcc1" presStyleIdx="3" presStyleCnt="4"/>
      <dgm:spPr/>
    </dgm:pt>
  </dgm:ptLst>
  <dgm:cxnLst>
    <dgm:cxn modelId="{B91AE603-7DE6-41C5-9DD1-C2E7B0EBDC85}" srcId="{9E132100-0470-40B7-A8E6-6DBEEC8F85EA}" destId="{072FA309-782A-431D-B584-C1A7FC258A00}" srcOrd="0" destOrd="0" parTransId="{3C887387-232D-4391-B697-DAB6359FA216}" sibTransId="{1D8D9085-C444-48F7-9E0F-C5B0BB20C2BA}"/>
    <dgm:cxn modelId="{0E2B450F-EB8B-49CD-96E7-1575647685CE}" type="presOf" srcId="{364C0827-5695-468E-8402-4ED887680B9C}" destId="{B609AC65-467E-497D-BF7A-4AECAB2052C7}" srcOrd="0" destOrd="0" presId="urn:microsoft.com/office/officeart/2008/layout/VerticalCurvedList"/>
    <dgm:cxn modelId="{E29FFE80-DC9B-439F-BA87-2D463D57EFCE}" srcId="{9E132100-0470-40B7-A8E6-6DBEEC8F85EA}" destId="{364C0827-5695-468E-8402-4ED887680B9C}" srcOrd="1" destOrd="0" parTransId="{9A9CB8CE-6365-4133-8E86-C95D04A56BFE}" sibTransId="{EBFDE015-84A0-49C4-BA7F-EF29B960D49C}"/>
    <dgm:cxn modelId="{B42FA685-7800-488B-85B1-CCA0AE3EA5CB}" type="presOf" srcId="{072FA309-782A-431D-B584-C1A7FC258A00}" destId="{F67B6145-3C04-468A-A4C1-F34B906D01D1}" srcOrd="0" destOrd="0" presId="urn:microsoft.com/office/officeart/2008/layout/VerticalCurvedList"/>
    <dgm:cxn modelId="{D1E72586-FF46-4CC8-AD87-D1E8C0FEA219}" srcId="{9E132100-0470-40B7-A8E6-6DBEEC8F85EA}" destId="{59298F07-C3D9-4A4C-8BC4-52661060F832}" srcOrd="2" destOrd="0" parTransId="{278BE5D5-901D-4C4D-A2FF-0957294DCAA8}" sibTransId="{349014B1-DE49-47BC-BDB1-8C7B536B6FD7}"/>
    <dgm:cxn modelId="{90E036A1-253F-4B83-A062-3E315B185EAF}" type="presOf" srcId="{59298F07-C3D9-4A4C-8BC4-52661060F832}" destId="{304BBB36-A537-46B1-B432-E7720752E8BD}" srcOrd="0" destOrd="0" presId="urn:microsoft.com/office/officeart/2008/layout/VerticalCurvedList"/>
    <dgm:cxn modelId="{D66EB1AC-4162-451D-ACCD-E090FFE140BB}" type="presOf" srcId="{9E132100-0470-40B7-A8E6-6DBEEC8F85EA}" destId="{EEF1417D-6A01-47C9-A06B-CCDEE894CF73}" srcOrd="0" destOrd="0" presId="urn:microsoft.com/office/officeart/2008/layout/VerticalCurvedList"/>
    <dgm:cxn modelId="{723416D3-7476-4A7D-8326-61E7C31768D0}" srcId="{9E132100-0470-40B7-A8E6-6DBEEC8F85EA}" destId="{12A03ED1-F2F5-48DB-9FCD-9D938B3BBC30}" srcOrd="3" destOrd="0" parTransId="{D029FF07-E014-4917-9DBB-2B8073791D43}" sibTransId="{30202A8B-2383-4B28-B958-5E2A9C8EEEA3}"/>
    <dgm:cxn modelId="{A00B90E1-4B5B-4DB9-8DB1-D2FFFE3DE8F2}" type="presOf" srcId="{12A03ED1-F2F5-48DB-9FCD-9D938B3BBC30}" destId="{CFA9F5AB-C6F5-4790-96FE-D7058348E63C}" srcOrd="0" destOrd="0" presId="urn:microsoft.com/office/officeart/2008/layout/VerticalCurvedList"/>
    <dgm:cxn modelId="{72705DFC-6F1F-4550-9576-455FDCF6ACAD}" type="presOf" srcId="{1D8D9085-C444-48F7-9E0F-C5B0BB20C2BA}" destId="{A05B37A8-CE14-4E1B-940F-3DD88250DA1A}" srcOrd="0" destOrd="0" presId="urn:microsoft.com/office/officeart/2008/layout/VerticalCurvedList"/>
    <dgm:cxn modelId="{3303A81C-72CA-47C9-8630-04984771A8B4}" type="presParOf" srcId="{EEF1417D-6A01-47C9-A06B-CCDEE894CF73}" destId="{0CFBCEC6-913B-4BAE-B9E3-2601B55F785B}" srcOrd="0" destOrd="0" presId="urn:microsoft.com/office/officeart/2008/layout/VerticalCurvedList"/>
    <dgm:cxn modelId="{98AB82E2-842B-44AD-BD22-F537D3167CEB}" type="presParOf" srcId="{0CFBCEC6-913B-4BAE-B9E3-2601B55F785B}" destId="{7D7D3BA5-3227-41DB-B5CE-929D0B4BCF57}" srcOrd="0" destOrd="0" presId="urn:microsoft.com/office/officeart/2008/layout/VerticalCurvedList"/>
    <dgm:cxn modelId="{E6E0044E-2661-4899-9812-BA422D7AD42A}" type="presParOf" srcId="{7D7D3BA5-3227-41DB-B5CE-929D0B4BCF57}" destId="{593D78D2-9DF9-4235-9E13-1D5F2B7D9BD0}" srcOrd="0" destOrd="0" presId="urn:microsoft.com/office/officeart/2008/layout/VerticalCurvedList"/>
    <dgm:cxn modelId="{3A28D97A-8C5E-4F4A-B8FF-CE3728EEAC59}" type="presParOf" srcId="{7D7D3BA5-3227-41DB-B5CE-929D0B4BCF57}" destId="{A05B37A8-CE14-4E1B-940F-3DD88250DA1A}" srcOrd="1" destOrd="0" presId="urn:microsoft.com/office/officeart/2008/layout/VerticalCurvedList"/>
    <dgm:cxn modelId="{D378BA32-BD64-4D57-A875-678EEAD9DF32}" type="presParOf" srcId="{7D7D3BA5-3227-41DB-B5CE-929D0B4BCF57}" destId="{52E73943-54AE-49A9-AE8B-2B196EFB4586}" srcOrd="2" destOrd="0" presId="urn:microsoft.com/office/officeart/2008/layout/VerticalCurvedList"/>
    <dgm:cxn modelId="{B166CEF3-1061-4B1D-A5AD-BEAE38211C21}" type="presParOf" srcId="{7D7D3BA5-3227-41DB-B5CE-929D0B4BCF57}" destId="{04F88E18-0155-4371-9B32-CC269A0C303C}" srcOrd="3" destOrd="0" presId="urn:microsoft.com/office/officeart/2008/layout/VerticalCurvedList"/>
    <dgm:cxn modelId="{517DE390-4833-4759-A35F-03F3E01CA7D1}" type="presParOf" srcId="{0CFBCEC6-913B-4BAE-B9E3-2601B55F785B}" destId="{F67B6145-3C04-468A-A4C1-F34B906D01D1}" srcOrd="1" destOrd="0" presId="urn:microsoft.com/office/officeart/2008/layout/VerticalCurvedList"/>
    <dgm:cxn modelId="{6C34DCD2-371F-4D72-972B-1843C06E6897}" type="presParOf" srcId="{0CFBCEC6-913B-4BAE-B9E3-2601B55F785B}" destId="{C29DFE64-EBCC-4934-8C99-55374BF6A692}" srcOrd="2" destOrd="0" presId="urn:microsoft.com/office/officeart/2008/layout/VerticalCurvedList"/>
    <dgm:cxn modelId="{E7F31C73-7CC9-44D3-BDB3-1000A06C4282}" type="presParOf" srcId="{C29DFE64-EBCC-4934-8C99-55374BF6A692}" destId="{EA789D9B-79AF-40A6-8354-6E0DB3438074}" srcOrd="0" destOrd="0" presId="urn:microsoft.com/office/officeart/2008/layout/VerticalCurvedList"/>
    <dgm:cxn modelId="{C5C2B258-4B1C-4A8C-8DD4-3AC52DF165C7}" type="presParOf" srcId="{0CFBCEC6-913B-4BAE-B9E3-2601B55F785B}" destId="{B609AC65-467E-497D-BF7A-4AECAB2052C7}" srcOrd="3" destOrd="0" presId="urn:microsoft.com/office/officeart/2008/layout/VerticalCurvedList"/>
    <dgm:cxn modelId="{B306CC46-01EA-49D8-950F-E24A260A5BC3}" type="presParOf" srcId="{0CFBCEC6-913B-4BAE-B9E3-2601B55F785B}" destId="{6A671C03-C2B8-47D4-925A-F11C2B0272BC}" srcOrd="4" destOrd="0" presId="urn:microsoft.com/office/officeart/2008/layout/VerticalCurvedList"/>
    <dgm:cxn modelId="{B457AB87-78B6-4406-8485-17D471AF2801}" type="presParOf" srcId="{6A671C03-C2B8-47D4-925A-F11C2B0272BC}" destId="{D332BF79-271C-4DCB-A41E-A2BF0171722F}" srcOrd="0" destOrd="0" presId="urn:microsoft.com/office/officeart/2008/layout/VerticalCurvedList"/>
    <dgm:cxn modelId="{E7D014C0-99F9-42B7-AC08-44C749CE6B5C}" type="presParOf" srcId="{0CFBCEC6-913B-4BAE-B9E3-2601B55F785B}" destId="{304BBB36-A537-46B1-B432-E7720752E8BD}" srcOrd="5" destOrd="0" presId="urn:microsoft.com/office/officeart/2008/layout/VerticalCurvedList"/>
    <dgm:cxn modelId="{9396CC01-CC20-4214-84D7-902AA638C9D1}" type="presParOf" srcId="{0CFBCEC6-913B-4BAE-B9E3-2601B55F785B}" destId="{B689474D-0C2F-4FD9-B43B-33ABC4FD556C}" srcOrd="6" destOrd="0" presId="urn:microsoft.com/office/officeart/2008/layout/VerticalCurvedList"/>
    <dgm:cxn modelId="{AAFB8A23-D393-455A-BCAC-339A9290033A}" type="presParOf" srcId="{B689474D-0C2F-4FD9-B43B-33ABC4FD556C}" destId="{9943A29A-0ADA-4AD0-BE2D-3C48E671F264}" srcOrd="0" destOrd="0" presId="urn:microsoft.com/office/officeart/2008/layout/VerticalCurvedList"/>
    <dgm:cxn modelId="{5733F610-5403-42CB-8E83-30AA8ED111F5}" type="presParOf" srcId="{0CFBCEC6-913B-4BAE-B9E3-2601B55F785B}" destId="{CFA9F5AB-C6F5-4790-96FE-D7058348E63C}" srcOrd="7" destOrd="0" presId="urn:microsoft.com/office/officeart/2008/layout/VerticalCurvedList"/>
    <dgm:cxn modelId="{C0C177FB-E2D3-4F01-9107-ED45C13A9B72}" type="presParOf" srcId="{0CFBCEC6-913B-4BAE-B9E3-2601B55F785B}" destId="{60F227EB-9B22-45E8-9ED9-C5E9024301B4}" srcOrd="8" destOrd="0" presId="urn:microsoft.com/office/officeart/2008/layout/VerticalCurvedList"/>
    <dgm:cxn modelId="{F349C251-7784-4F8E-9AFD-03B48C0084BD}" type="presParOf" srcId="{60F227EB-9B22-45E8-9ED9-C5E9024301B4}" destId="{B5724A4D-6C20-451A-A3A1-6E065DD4A618}"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50FFF9F-69FC-4899-9C67-207C4E79E0EE}" type="doc">
      <dgm:prSet loTypeId="urn:microsoft.com/office/officeart/2005/8/layout/default" loCatId="list" qsTypeId="urn:microsoft.com/office/officeart/2005/8/quickstyle/simple1" qsCatId="simple" csTypeId="urn:microsoft.com/office/officeart/2005/8/colors/colorful2" csCatId="colorful"/>
      <dgm:spPr/>
      <dgm:t>
        <a:bodyPr/>
        <a:lstStyle/>
        <a:p>
          <a:endParaRPr lang="en-US"/>
        </a:p>
      </dgm:t>
    </dgm:pt>
    <dgm:pt modelId="{DD40B898-886D-4CA0-8092-C3E644762561}">
      <dgm:prSet/>
      <dgm:spPr/>
      <dgm:t>
        <a:bodyPr/>
        <a:lstStyle/>
        <a:p>
          <a:r>
            <a:rPr lang="en-US" baseline="0" dirty="0"/>
            <a:t>Useful to assist in troubleshooting an active performance issue</a:t>
          </a:r>
          <a:endParaRPr lang="en-US" dirty="0"/>
        </a:p>
      </dgm:t>
    </dgm:pt>
    <dgm:pt modelId="{9EF53C9F-08BE-485F-A771-793DE7FDBE94}" type="parTrans" cxnId="{51F742A6-ED80-4232-811D-C2FDA0A70211}">
      <dgm:prSet/>
      <dgm:spPr/>
      <dgm:t>
        <a:bodyPr/>
        <a:lstStyle/>
        <a:p>
          <a:endParaRPr lang="en-US"/>
        </a:p>
      </dgm:t>
    </dgm:pt>
    <dgm:pt modelId="{17061A75-5334-4E00-90DB-D48E8AA9954F}" type="sibTrans" cxnId="{51F742A6-ED80-4232-811D-C2FDA0A70211}">
      <dgm:prSet/>
      <dgm:spPr/>
      <dgm:t>
        <a:bodyPr/>
        <a:lstStyle/>
        <a:p>
          <a:endParaRPr lang="en-US"/>
        </a:p>
      </dgm:t>
    </dgm:pt>
    <dgm:pt modelId="{8DA98CFC-754E-4176-8096-ACF98AFC64D9}">
      <dgm:prSet/>
      <dgm:spPr/>
      <dgm:t>
        <a:bodyPr/>
        <a:lstStyle/>
        <a:p>
          <a:r>
            <a:rPr lang="en-US" baseline="0"/>
            <a:t>Valuable to track the resources SQL Server is regularly waiting on</a:t>
          </a:r>
          <a:endParaRPr lang="en-US"/>
        </a:p>
      </dgm:t>
    </dgm:pt>
    <dgm:pt modelId="{5AB40816-E086-4099-A4BC-9C94872A3F63}" type="parTrans" cxnId="{891270A9-1A53-4375-B785-2CB13ADBDF23}">
      <dgm:prSet/>
      <dgm:spPr/>
      <dgm:t>
        <a:bodyPr/>
        <a:lstStyle/>
        <a:p>
          <a:endParaRPr lang="en-US"/>
        </a:p>
      </dgm:t>
    </dgm:pt>
    <dgm:pt modelId="{2957186A-3870-4568-B3D6-FB82A130154F}" type="sibTrans" cxnId="{891270A9-1A53-4375-B785-2CB13ADBDF23}">
      <dgm:prSet/>
      <dgm:spPr/>
      <dgm:t>
        <a:bodyPr/>
        <a:lstStyle/>
        <a:p>
          <a:endParaRPr lang="en-US"/>
        </a:p>
      </dgm:t>
    </dgm:pt>
    <dgm:pt modelId="{9666DEEB-738B-4246-869E-1CA6497B69DA}">
      <dgm:prSet/>
      <dgm:spPr/>
      <dgm:t>
        <a:bodyPr/>
        <a:lstStyle/>
        <a:p>
          <a:r>
            <a:rPr lang="en-US" baseline="0"/>
            <a:t>Useful for workload measurements and benchmarking</a:t>
          </a:r>
          <a:endParaRPr lang="en-US"/>
        </a:p>
      </dgm:t>
    </dgm:pt>
    <dgm:pt modelId="{D03E4897-224B-47A9-A9FE-92CAEBCE12EC}" type="parTrans" cxnId="{035A19A1-54E6-4E54-8069-D2C51F312D2D}">
      <dgm:prSet/>
      <dgm:spPr/>
      <dgm:t>
        <a:bodyPr/>
        <a:lstStyle/>
        <a:p>
          <a:endParaRPr lang="en-US"/>
        </a:p>
      </dgm:t>
    </dgm:pt>
    <dgm:pt modelId="{097EFB12-E276-465F-9166-645CBC47F137}" type="sibTrans" cxnId="{035A19A1-54E6-4E54-8069-D2C51F312D2D}">
      <dgm:prSet/>
      <dgm:spPr/>
      <dgm:t>
        <a:bodyPr/>
        <a:lstStyle/>
        <a:p>
          <a:endParaRPr lang="en-US"/>
        </a:p>
      </dgm:t>
    </dgm:pt>
    <dgm:pt modelId="{EA9B4A70-570A-4FF3-8AA3-D164B5328D5A}">
      <dgm:prSet/>
      <dgm:spPr/>
      <dgm:t>
        <a:bodyPr/>
        <a:lstStyle/>
        <a:p>
          <a:r>
            <a:rPr lang="en-US" baseline="0"/>
            <a:t>Valuable for identifying performance trends</a:t>
          </a:r>
          <a:endParaRPr lang="en-US"/>
        </a:p>
      </dgm:t>
    </dgm:pt>
    <dgm:pt modelId="{EC9D8A8F-6D79-4136-9E80-F6462669CBBE}" type="parTrans" cxnId="{8574BE00-87DD-40E0-A441-53B7A7789B81}">
      <dgm:prSet/>
      <dgm:spPr/>
      <dgm:t>
        <a:bodyPr/>
        <a:lstStyle/>
        <a:p>
          <a:endParaRPr lang="en-US"/>
        </a:p>
      </dgm:t>
    </dgm:pt>
    <dgm:pt modelId="{8BC24A4C-8C3F-4EBF-980D-D32B9E2545CD}" type="sibTrans" cxnId="{8574BE00-87DD-40E0-A441-53B7A7789B81}">
      <dgm:prSet/>
      <dgm:spPr/>
      <dgm:t>
        <a:bodyPr/>
        <a:lstStyle/>
        <a:p>
          <a:endParaRPr lang="en-US"/>
        </a:p>
      </dgm:t>
    </dgm:pt>
    <dgm:pt modelId="{6E5180BD-8F2E-4CB9-A5D1-F945D8A9D2B7}" type="pres">
      <dgm:prSet presAssocID="{750FFF9F-69FC-4899-9C67-207C4E79E0EE}" presName="diagram" presStyleCnt="0">
        <dgm:presLayoutVars>
          <dgm:dir/>
          <dgm:resizeHandles val="exact"/>
        </dgm:presLayoutVars>
      </dgm:prSet>
      <dgm:spPr/>
    </dgm:pt>
    <dgm:pt modelId="{A9CD3441-280B-489E-B379-EB8804FAC69F}" type="pres">
      <dgm:prSet presAssocID="{DD40B898-886D-4CA0-8092-C3E644762561}" presName="node" presStyleLbl="node1" presStyleIdx="0" presStyleCnt="4">
        <dgm:presLayoutVars>
          <dgm:bulletEnabled val="1"/>
        </dgm:presLayoutVars>
      </dgm:prSet>
      <dgm:spPr/>
    </dgm:pt>
    <dgm:pt modelId="{BF277932-0EFF-4F7C-9C8D-E33D858D8930}" type="pres">
      <dgm:prSet presAssocID="{17061A75-5334-4E00-90DB-D48E8AA9954F}" presName="sibTrans" presStyleCnt="0"/>
      <dgm:spPr/>
    </dgm:pt>
    <dgm:pt modelId="{56045FA4-2A04-49C1-B6EB-B5CBFB24F778}" type="pres">
      <dgm:prSet presAssocID="{8DA98CFC-754E-4176-8096-ACF98AFC64D9}" presName="node" presStyleLbl="node1" presStyleIdx="1" presStyleCnt="4">
        <dgm:presLayoutVars>
          <dgm:bulletEnabled val="1"/>
        </dgm:presLayoutVars>
      </dgm:prSet>
      <dgm:spPr/>
    </dgm:pt>
    <dgm:pt modelId="{339528A2-7A92-42F7-96C0-ACD215F7F9BD}" type="pres">
      <dgm:prSet presAssocID="{2957186A-3870-4568-B3D6-FB82A130154F}" presName="sibTrans" presStyleCnt="0"/>
      <dgm:spPr/>
    </dgm:pt>
    <dgm:pt modelId="{4BA23AAE-553F-46CA-9E8C-BE5C44E53C8C}" type="pres">
      <dgm:prSet presAssocID="{9666DEEB-738B-4246-869E-1CA6497B69DA}" presName="node" presStyleLbl="node1" presStyleIdx="2" presStyleCnt="4">
        <dgm:presLayoutVars>
          <dgm:bulletEnabled val="1"/>
        </dgm:presLayoutVars>
      </dgm:prSet>
      <dgm:spPr/>
    </dgm:pt>
    <dgm:pt modelId="{672844DF-9022-4AB2-BF51-272803603294}" type="pres">
      <dgm:prSet presAssocID="{097EFB12-E276-465F-9166-645CBC47F137}" presName="sibTrans" presStyleCnt="0"/>
      <dgm:spPr/>
    </dgm:pt>
    <dgm:pt modelId="{85F72BB8-9F9A-44BF-9149-BFE2EF52F0C9}" type="pres">
      <dgm:prSet presAssocID="{EA9B4A70-570A-4FF3-8AA3-D164B5328D5A}" presName="node" presStyleLbl="node1" presStyleIdx="3" presStyleCnt="4">
        <dgm:presLayoutVars>
          <dgm:bulletEnabled val="1"/>
        </dgm:presLayoutVars>
      </dgm:prSet>
      <dgm:spPr/>
    </dgm:pt>
  </dgm:ptLst>
  <dgm:cxnLst>
    <dgm:cxn modelId="{8574BE00-87DD-40E0-A441-53B7A7789B81}" srcId="{750FFF9F-69FC-4899-9C67-207C4E79E0EE}" destId="{EA9B4A70-570A-4FF3-8AA3-D164B5328D5A}" srcOrd="3" destOrd="0" parTransId="{EC9D8A8F-6D79-4136-9E80-F6462669CBBE}" sibTransId="{8BC24A4C-8C3F-4EBF-980D-D32B9E2545CD}"/>
    <dgm:cxn modelId="{EF1E0444-58A8-419E-BC53-F294F8F06885}" type="presOf" srcId="{EA9B4A70-570A-4FF3-8AA3-D164B5328D5A}" destId="{85F72BB8-9F9A-44BF-9149-BFE2EF52F0C9}" srcOrd="0" destOrd="0" presId="urn:microsoft.com/office/officeart/2005/8/layout/default"/>
    <dgm:cxn modelId="{7390BF6E-7D45-46EF-B3AB-BEA9344A0E9D}" type="presOf" srcId="{8DA98CFC-754E-4176-8096-ACF98AFC64D9}" destId="{56045FA4-2A04-49C1-B6EB-B5CBFB24F778}" srcOrd="0" destOrd="0" presId="urn:microsoft.com/office/officeart/2005/8/layout/default"/>
    <dgm:cxn modelId="{E49A7082-2FF5-4FB4-9110-2D08F60646CF}" type="presOf" srcId="{9666DEEB-738B-4246-869E-1CA6497B69DA}" destId="{4BA23AAE-553F-46CA-9E8C-BE5C44E53C8C}" srcOrd="0" destOrd="0" presId="urn:microsoft.com/office/officeart/2005/8/layout/default"/>
    <dgm:cxn modelId="{035A19A1-54E6-4E54-8069-D2C51F312D2D}" srcId="{750FFF9F-69FC-4899-9C67-207C4E79E0EE}" destId="{9666DEEB-738B-4246-869E-1CA6497B69DA}" srcOrd="2" destOrd="0" parTransId="{D03E4897-224B-47A9-A9FE-92CAEBCE12EC}" sibTransId="{097EFB12-E276-465F-9166-645CBC47F137}"/>
    <dgm:cxn modelId="{51F742A6-ED80-4232-811D-C2FDA0A70211}" srcId="{750FFF9F-69FC-4899-9C67-207C4E79E0EE}" destId="{DD40B898-886D-4CA0-8092-C3E644762561}" srcOrd="0" destOrd="0" parTransId="{9EF53C9F-08BE-485F-A771-793DE7FDBE94}" sibTransId="{17061A75-5334-4E00-90DB-D48E8AA9954F}"/>
    <dgm:cxn modelId="{891270A9-1A53-4375-B785-2CB13ADBDF23}" srcId="{750FFF9F-69FC-4899-9C67-207C4E79E0EE}" destId="{8DA98CFC-754E-4176-8096-ACF98AFC64D9}" srcOrd="1" destOrd="0" parTransId="{5AB40816-E086-4099-A4BC-9C94872A3F63}" sibTransId="{2957186A-3870-4568-B3D6-FB82A130154F}"/>
    <dgm:cxn modelId="{562483AF-9F02-48CB-A16D-09D47D53B022}" type="presOf" srcId="{750FFF9F-69FC-4899-9C67-207C4E79E0EE}" destId="{6E5180BD-8F2E-4CB9-A5D1-F945D8A9D2B7}" srcOrd="0" destOrd="0" presId="urn:microsoft.com/office/officeart/2005/8/layout/default"/>
    <dgm:cxn modelId="{782C3EE2-3643-4BEF-98DD-30ED8B96A74A}" type="presOf" srcId="{DD40B898-886D-4CA0-8092-C3E644762561}" destId="{A9CD3441-280B-489E-B379-EB8804FAC69F}" srcOrd="0" destOrd="0" presId="urn:microsoft.com/office/officeart/2005/8/layout/default"/>
    <dgm:cxn modelId="{32CCA32B-B103-4CC4-895F-51BFF527C694}" type="presParOf" srcId="{6E5180BD-8F2E-4CB9-A5D1-F945D8A9D2B7}" destId="{A9CD3441-280B-489E-B379-EB8804FAC69F}" srcOrd="0" destOrd="0" presId="urn:microsoft.com/office/officeart/2005/8/layout/default"/>
    <dgm:cxn modelId="{22F57512-0363-4F55-9C1C-8BB575C5E013}" type="presParOf" srcId="{6E5180BD-8F2E-4CB9-A5D1-F945D8A9D2B7}" destId="{BF277932-0EFF-4F7C-9C8D-E33D858D8930}" srcOrd="1" destOrd="0" presId="urn:microsoft.com/office/officeart/2005/8/layout/default"/>
    <dgm:cxn modelId="{F5FD9587-82A2-4C95-9FCB-B9C8A38FC3ED}" type="presParOf" srcId="{6E5180BD-8F2E-4CB9-A5D1-F945D8A9D2B7}" destId="{56045FA4-2A04-49C1-B6EB-B5CBFB24F778}" srcOrd="2" destOrd="0" presId="urn:microsoft.com/office/officeart/2005/8/layout/default"/>
    <dgm:cxn modelId="{D2BFD699-AF31-42DE-B070-6D5508E55D9A}" type="presParOf" srcId="{6E5180BD-8F2E-4CB9-A5D1-F945D8A9D2B7}" destId="{339528A2-7A92-42F7-96C0-ACD215F7F9BD}" srcOrd="3" destOrd="0" presId="urn:microsoft.com/office/officeart/2005/8/layout/default"/>
    <dgm:cxn modelId="{D818E2EC-801C-47B1-A301-E08823EFDA8F}" type="presParOf" srcId="{6E5180BD-8F2E-4CB9-A5D1-F945D8A9D2B7}" destId="{4BA23AAE-553F-46CA-9E8C-BE5C44E53C8C}" srcOrd="4" destOrd="0" presId="urn:microsoft.com/office/officeart/2005/8/layout/default"/>
    <dgm:cxn modelId="{1FF4AFE1-1DBF-409F-BAF2-45EAC943EC97}" type="presParOf" srcId="{6E5180BD-8F2E-4CB9-A5D1-F945D8A9D2B7}" destId="{672844DF-9022-4AB2-BF51-272803603294}" srcOrd="5" destOrd="0" presId="urn:microsoft.com/office/officeart/2005/8/layout/default"/>
    <dgm:cxn modelId="{ACBCC641-6A07-4E7F-A02C-D0F7E75AA14E}" type="presParOf" srcId="{6E5180BD-8F2E-4CB9-A5D1-F945D8A9D2B7}" destId="{85F72BB8-9F9A-44BF-9149-BFE2EF52F0C9}"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B35A029-B5B0-469E-AB39-8CABD215B099}" type="doc">
      <dgm:prSet loTypeId="urn:microsoft.com/office/officeart/2005/8/layout/equation1" loCatId="process" qsTypeId="urn:microsoft.com/office/officeart/2005/8/quickstyle/simple1" qsCatId="simple" csTypeId="urn:microsoft.com/office/officeart/2005/8/colors/colorful2" csCatId="colorful" phldr="1"/>
      <dgm:spPr/>
    </dgm:pt>
    <dgm:pt modelId="{D314815A-C099-4DFC-A019-7E3BC830CA88}">
      <dgm:prSet phldrT="[Text]"/>
      <dgm:spPr/>
      <dgm:t>
        <a:bodyPr/>
        <a:lstStyle/>
        <a:p>
          <a:r>
            <a:rPr lang="en-US">
              <a:latin typeface="Segoe UI Light" panose="020B0502040204020203" pitchFamily="34" charset="0"/>
              <a:cs typeface="Segoe UI Light" panose="020B0502040204020203" pitchFamily="34" charset="0"/>
            </a:rPr>
            <a:t>CPU Time (RUNNING)</a:t>
          </a:r>
          <a:endParaRPr lang="pt-PT">
            <a:latin typeface="Segoe UI Light" panose="020B0502040204020203" pitchFamily="34" charset="0"/>
            <a:cs typeface="Segoe UI Light" panose="020B0502040204020203" pitchFamily="34" charset="0"/>
          </a:endParaRPr>
        </a:p>
      </dgm:t>
    </dgm:pt>
    <dgm:pt modelId="{056B3F22-BF06-463C-95F0-406A106E0349}" type="par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70E3976A-575C-446D-8AAD-C4187B931A0A}" type="sib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6E821775-9F97-4722-9828-9CC231903B07}">
      <dgm:prSet phldrT="[Text]"/>
      <dgm:spPr/>
      <dgm:t>
        <a:bodyPr/>
        <a:lstStyle/>
        <a:p>
          <a:r>
            <a:rPr lang="pt-PT">
              <a:latin typeface="Segoe UI Light" panose="020B0502040204020203" pitchFamily="34" charset="0"/>
              <a:cs typeface="Segoe UI Light" panose="020B0502040204020203" pitchFamily="34" charset="0"/>
            </a:rPr>
            <a:t>Total Query Response Time</a:t>
          </a:r>
        </a:p>
      </dgm:t>
    </dgm:pt>
    <dgm:pt modelId="{70E05511-033F-4232-BE52-4C289F8A5EA0}" type="par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02FF7F3D-563E-4DBF-AE63-33ECBE6EA5AC}" type="sib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C93C4C6A-9402-45DE-A18A-BD144BF404B8}">
      <dgm:prSet phldrT="[Text]"/>
      <dgm:spPr/>
      <dgm:t>
        <a:bodyPr/>
        <a:lstStyle/>
        <a:p>
          <a:r>
            <a:rPr lang="en-US">
              <a:latin typeface="Segoe UI Light" panose="020B0502040204020203" pitchFamily="34" charset="0"/>
              <a:cs typeface="Segoe UI Light" panose="020B0502040204020203" pitchFamily="34" charset="0"/>
            </a:rPr>
            <a:t>Signal Wait Time (RUNNABLE)</a:t>
          </a:r>
          <a:endParaRPr lang="pt-PT">
            <a:latin typeface="Segoe UI Light" panose="020B0502040204020203" pitchFamily="34" charset="0"/>
            <a:cs typeface="Segoe UI Light" panose="020B0502040204020203" pitchFamily="34" charset="0"/>
          </a:endParaRPr>
        </a:p>
      </dgm:t>
    </dgm:pt>
    <dgm:pt modelId="{9867C768-687D-49C5-8400-7BEA31BCCD3A}" type="parTrans" cxnId="{381C370D-F00E-4779-81FC-0A5A6E898B01}">
      <dgm:prSet/>
      <dgm:spPr/>
      <dgm:t>
        <a:bodyPr/>
        <a:lstStyle/>
        <a:p>
          <a:endParaRPr lang="en-US"/>
        </a:p>
      </dgm:t>
    </dgm:pt>
    <dgm:pt modelId="{5A623CA4-550C-412F-9EF6-B065066EAABF}" type="sibTrans" cxnId="{381C370D-F00E-4779-81FC-0A5A6E898B01}">
      <dgm:prSet/>
      <dgm:spPr/>
      <dgm:t>
        <a:bodyPr/>
        <a:lstStyle/>
        <a:p>
          <a:endParaRPr lang="en-US"/>
        </a:p>
      </dgm:t>
    </dgm:pt>
    <dgm:pt modelId="{0781EDC9-B2A9-4D17-894E-C2B369D4771A}">
      <dgm:prSet phldrT="[Text]"/>
      <dgm:spPr/>
      <dgm:t>
        <a:bodyPr/>
        <a:lstStyle/>
        <a:p>
          <a:r>
            <a:rPr lang="en-US">
              <a:latin typeface="Segoe UI Light" panose="020B0502040204020203" pitchFamily="34" charset="0"/>
              <a:cs typeface="Segoe UI Light" panose="020B0502040204020203" pitchFamily="34" charset="0"/>
            </a:rPr>
            <a:t>Resource Wait Time (SUSPENDED)</a:t>
          </a:r>
          <a:endParaRPr lang="pt-PT">
            <a:latin typeface="Segoe UI Light" panose="020B0502040204020203" pitchFamily="34" charset="0"/>
            <a:cs typeface="Segoe UI Light" panose="020B0502040204020203" pitchFamily="34" charset="0"/>
          </a:endParaRPr>
        </a:p>
      </dgm:t>
    </dgm:pt>
    <dgm:pt modelId="{3E93F19D-2AA0-4533-B428-8E7AB7F767B3}" type="parTrans" cxnId="{C8E38A1A-F592-4925-A43C-FB1FF9AD2ED5}">
      <dgm:prSet/>
      <dgm:spPr/>
      <dgm:t>
        <a:bodyPr/>
        <a:lstStyle/>
        <a:p>
          <a:endParaRPr lang="en-US"/>
        </a:p>
      </dgm:t>
    </dgm:pt>
    <dgm:pt modelId="{D81E2ED9-E419-4AB8-8B97-711DDB59EB55}" type="sibTrans" cxnId="{C8E38A1A-F592-4925-A43C-FB1FF9AD2ED5}">
      <dgm:prSet/>
      <dgm:spPr/>
      <dgm:t>
        <a:bodyPr/>
        <a:lstStyle/>
        <a:p>
          <a:endParaRPr lang="en-US"/>
        </a:p>
      </dgm:t>
    </dgm:pt>
    <dgm:pt modelId="{263D1411-8B94-4BD3-86FE-2A81E0FA527D}" type="pres">
      <dgm:prSet presAssocID="{AB35A029-B5B0-469E-AB39-8CABD215B099}" presName="linearFlow" presStyleCnt="0">
        <dgm:presLayoutVars>
          <dgm:dir/>
          <dgm:resizeHandles val="exact"/>
        </dgm:presLayoutVars>
      </dgm:prSet>
      <dgm:spPr/>
    </dgm:pt>
    <dgm:pt modelId="{F0F50DC7-A385-4C3D-85E8-5A190CB72709}" type="pres">
      <dgm:prSet presAssocID="{D314815A-C099-4DFC-A019-7E3BC830CA88}" presName="node" presStyleLbl="node1" presStyleIdx="0" presStyleCnt="4">
        <dgm:presLayoutVars>
          <dgm:bulletEnabled val="1"/>
        </dgm:presLayoutVars>
      </dgm:prSet>
      <dgm:spPr/>
    </dgm:pt>
    <dgm:pt modelId="{9D909C93-961C-4D42-A56F-573BF303D3EB}" type="pres">
      <dgm:prSet presAssocID="{70E3976A-575C-446D-8AAD-C4187B931A0A}" presName="spacerL" presStyleCnt="0"/>
      <dgm:spPr/>
    </dgm:pt>
    <dgm:pt modelId="{6673E2C0-687C-4813-9CDF-C1D7AB877466}" type="pres">
      <dgm:prSet presAssocID="{70E3976A-575C-446D-8AAD-C4187B931A0A}" presName="sibTrans" presStyleLbl="sibTrans2D1" presStyleIdx="0" presStyleCnt="3"/>
      <dgm:spPr/>
    </dgm:pt>
    <dgm:pt modelId="{AAD7898C-5FD6-4578-A749-1FC8705C0B87}" type="pres">
      <dgm:prSet presAssocID="{70E3976A-575C-446D-8AAD-C4187B931A0A}" presName="spacerR" presStyleCnt="0"/>
      <dgm:spPr/>
    </dgm:pt>
    <dgm:pt modelId="{10CBBA21-79EB-41F6-B412-F391EAA0507A}" type="pres">
      <dgm:prSet presAssocID="{C93C4C6A-9402-45DE-A18A-BD144BF404B8}" presName="node" presStyleLbl="node1" presStyleIdx="1" presStyleCnt="4">
        <dgm:presLayoutVars>
          <dgm:bulletEnabled val="1"/>
        </dgm:presLayoutVars>
      </dgm:prSet>
      <dgm:spPr/>
    </dgm:pt>
    <dgm:pt modelId="{7DF48E54-3BD7-422B-B7D0-B15DBFC5ACB4}" type="pres">
      <dgm:prSet presAssocID="{5A623CA4-550C-412F-9EF6-B065066EAABF}" presName="spacerL" presStyleCnt="0"/>
      <dgm:spPr/>
    </dgm:pt>
    <dgm:pt modelId="{8B0DDA86-1B95-48DA-B6BA-3D7A249A161A}" type="pres">
      <dgm:prSet presAssocID="{5A623CA4-550C-412F-9EF6-B065066EAABF}" presName="sibTrans" presStyleLbl="sibTrans2D1" presStyleIdx="1" presStyleCnt="3"/>
      <dgm:spPr/>
    </dgm:pt>
    <dgm:pt modelId="{A6376049-2292-4B32-ABDC-EAF619E7D27C}" type="pres">
      <dgm:prSet presAssocID="{5A623CA4-550C-412F-9EF6-B065066EAABF}" presName="spacerR" presStyleCnt="0"/>
      <dgm:spPr/>
    </dgm:pt>
    <dgm:pt modelId="{8654DA70-295E-47B4-95D9-098230C9A89A}" type="pres">
      <dgm:prSet presAssocID="{0781EDC9-B2A9-4D17-894E-C2B369D4771A}" presName="node" presStyleLbl="node1" presStyleIdx="2" presStyleCnt="4">
        <dgm:presLayoutVars>
          <dgm:bulletEnabled val="1"/>
        </dgm:presLayoutVars>
      </dgm:prSet>
      <dgm:spPr/>
    </dgm:pt>
    <dgm:pt modelId="{D46D89DA-5BE8-4685-940C-3D53E21A4601}" type="pres">
      <dgm:prSet presAssocID="{D81E2ED9-E419-4AB8-8B97-711DDB59EB55}" presName="spacerL" presStyleCnt="0"/>
      <dgm:spPr/>
    </dgm:pt>
    <dgm:pt modelId="{46BABBF9-D006-443D-8111-5C6F404BF7AA}" type="pres">
      <dgm:prSet presAssocID="{D81E2ED9-E419-4AB8-8B97-711DDB59EB55}" presName="sibTrans" presStyleLbl="sibTrans2D1" presStyleIdx="2" presStyleCnt="3"/>
      <dgm:spPr/>
    </dgm:pt>
    <dgm:pt modelId="{79E14D49-221A-4119-A0CA-7F054AC847A2}" type="pres">
      <dgm:prSet presAssocID="{D81E2ED9-E419-4AB8-8B97-711DDB59EB55}" presName="spacerR" presStyleCnt="0"/>
      <dgm:spPr/>
    </dgm:pt>
    <dgm:pt modelId="{1E63E032-A34B-40F9-9996-7094989E1D20}" type="pres">
      <dgm:prSet presAssocID="{6E821775-9F97-4722-9828-9CC231903B07}" presName="node" presStyleLbl="node1" presStyleIdx="3" presStyleCnt="4">
        <dgm:presLayoutVars>
          <dgm:bulletEnabled val="1"/>
        </dgm:presLayoutVars>
      </dgm:prSet>
      <dgm:spPr/>
    </dgm:pt>
  </dgm:ptLst>
  <dgm:cxnLst>
    <dgm:cxn modelId="{CB007802-C416-40F2-A17B-4CCB9AEF29D2}" type="presOf" srcId="{AB35A029-B5B0-469E-AB39-8CABD215B099}" destId="{263D1411-8B94-4BD3-86FE-2A81E0FA527D}" srcOrd="0" destOrd="0" presId="urn:microsoft.com/office/officeart/2005/8/layout/equation1"/>
    <dgm:cxn modelId="{A6671A06-22E0-4CD8-800E-85E5983261AC}" type="presOf" srcId="{70E3976A-575C-446D-8AAD-C4187B931A0A}" destId="{6673E2C0-687C-4813-9CDF-C1D7AB877466}" srcOrd="0" destOrd="0" presId="urn:microsoft.com/office/officeart/2005/8/layout/equation1"/>
    <dgm:cxn modelId="{381C370D-F00E-4779-81FC-0A5A6E898B01}" srcId="{AB35A029-B5B0-469E-AB39-8CABD215B099}" destId="{C93C4C6A-9402-45DE-A18A-BD144BF404B8}" srcOrd="1" destOrd="0" parTransId="{9867C768-687D-49C5-8400-7BEA31BCCD3A}" sibTransId="{5A623CA4-550C-412F-9EF6-B065066EAABF}"/>
    <dgm:cxn modelId="{ACD5B518-8214-4ACE-92F5-2106E579D1B7}" type="presOf" srcId="{5A623CA4-550C-412F-9EF6-B065066EAABF}" destId="{8B0DDA86-1B95-48DA-B6BA-3D7A249A161A}" srcOrd="0" destOrd="0" presId="urn:microsoft.com/office/officeart/2005/8/layout/equation1"/>
    <dgm:cxn modelId="{C8E38A1A-F592-4925-A43C-FB1FF9AD2ED5}" srcId="{AB35A029-B5B0-469E-AB39-8CABD215B099}" destId="{0781EDC9-B2A9-4D17-894E-C2B369D4771A}" srcOrd="2" destOrd="0" parTransId="{3E93F19D-2AA0-4533-B428-8E7AB7F767B3}" sibTransId="{D81E2ED9-E419-4AB8-8B97-711DDB59EB55}"/>
    <dgm:cxn modelId="{F2A91F1F-1368-465A-8C77-0525252E7408}" type="presOf" srcId="{0781EDC9-B2A9-4D17-894E-C2B369D4771A}" destId="{8654DA70-295E-47B4-95D9-098230C9A89A}" srcOrd="0" destOrd="0" presId="urn:microsoft.com/office/officeart/2005/8/layout/equation1"/>
    <dgm:cxn modelId="{21A20A61-6861-48D7-8C53-F96CA262C5BC}" type="presOf" srcId="{D81E2ED9-E419-4AB8-8B97-711DDB59EB55}" destId="{46BABBF9-D006-443D-8111-5C6F404BF7AA}" srcOrd="0" destOrd="0" presId="urn:microsoft.com/office/officeart/2005/8/layout/equation1"/>
    <dgm:cxn modelId="{A1FC5263-6F79-4A71-8D7B-91C3CC177824}" type="presOf" srcId="{D314815A-C099-4DFC-A019-7E3BC830CA88}" destId="{F0F50DC7-A385-4C3D-85E8-5A190CB72709}" srcOrd="0" destOrd="0" presId="urn:microsoft.com/office/officeart/2005/8/layout/equation1"/>
    <dgm:cxn modelId="{5E136964-2FFF-4A2C-A414-BD39E9C6601F}" srcId="{AB35A029-B5B0-469E-AB39-8CABD215B099}" destId="{D314815A-C099-4DFC-A019-7E3BC830CA88}" srcOrd="0" destOrd="0" parTransId="{056B3F22-BF06-463C-95F0-406A106E0349}" sibTransId="{70E3976A-575C-446D-8AAD-C4187B931A0A}"/>
    <dgm:cxn modelId="{015833A1-A4D1-454A-BFEB-712BE11827AA}" type="presOf" srcId="{C93C4C6A-9402-45DE-A18A-BD144BF404B8}" destId="{10CBBA21-79EB-41F6-B412-F391EAA0507A}" srcOrd="0" destOrd="0" presId="urn:microsoft.com/office/officeart/2005/8/layout/equation1"/>
    <dgm:cxn modelId="{FF09D0E2-2736-43F0-B1F6-2E79A86D1560}" type="presOf" srcId="{6E821775-9F97-4722-9828-9CC231903B07}" destId="{1E63E032-A34B-40F9-9996-7094989E1D20}" srcOrd="0" destOrd="0" presId="urn:microsoft.com/office/officeart/2005/8/layout/equation1"/>
    <dgm:cxn modelId="{F2502EE9-274F-413F-B879-47B13BEBDA79}" srcId="{AB35A029-B5B0-469E-AB39-8CABD215B099}" destId="{6E821775-9F97-4722-9828-9CC231903B07}" srcOrd="3" destOrd="0" parTransId="{70E05511-033F-4232-BE52-4C289F8A5EA0}" sibTransId="{02FF7F3D-563E-4DBF-AE63-33ECBE6EA5AC}"/>
    <dgm:cxn modelId="{7F2D2C44-CB2B-4048-BDF4-EF71EFD2069C}" type="presParOf" srcId="{263D1411-8B94-4BD3-86FE-2A81E0FA527D}" destId="{F0F50DC7-A385-4C3D-85E8-5A190CB72709}" srcOrd="0" destOrd="0" presId="urn:microsoft.com/office/officeart/2005/8/layout/equation1"/>
    <dgm:cxn modelId="{103E8CCA-F962-450E-A304-762A4334EC6D}" type="presParOf" srcId="{263D1411-8B94-4BD3-86FE-2A81E0FA527D}" destId="{9D909C93-961C-4D42-A56F-573BF303D3EB}" srcOrd="1" destOrd="0" presId="urn:microsoft.com/office/officeart/2005/8/layout/equation1"/>
    <dgm:cxn modelId="{D31B2CBA-534E-456A-BBC4-EC6215831690}" type="presParOf" srcId="{263D1411-8B94-4BD3-86FE-2A81E0FA527D}" destId="{6673E2C0-687C-4813-9CDF-C1D7AB877466}" srcOrd="2" destOrd="0" presId="urn:microsoft.com/office/officeart/2005/8/layout/equation1"/>
    <dgm:cxn modelId="{DC82742D-4EC2-42AE-861E-AFE2CACDB7A8}" type="presParOf" srcId="{263D1411-8B94-4BD3-86FE-2A81E0FA527D}" destId="{AAD7898C-5FD6-4578-A749-1FC8705C0B87}" srcOrd="3" destOrd="0" presId="urn:microsoft.com/office/officeart/2005/8/layout/equation1"/>
    <dgm:cxn modelId="{880364C0-B8EE-4CA2-BBF9-4ED105743CC9}" type="presParOf" srcId="{263D1411-8B94-4BD3-86FE-2A81E0FA527D}" destId="{10CBBA21-79EB-41F6-B412-F391EAA0507A}" srcOrd="4" destOrd="0" presId="urn:microsoft.com/office/officeart/2005/8/layout/equation1"/>
    <dgm:cxn modelId="{605F09AF-6F1F-439F-A9BE-56126684B4CC}" type="presParOf" srcId="{263D1411-8B94-4BD3-86FE-2A81E0FA527D}" destId="{7DF48E54-3BD7-422B-B7D0-B15DBFC5ACB4}" srcOrd="5" destOrd="0" presId="urn:microsoft.com/office/officeart/2005/8/layout/equation1"/>
    <dgm:cxn modelId="{8DE0BBA8-9999-4A40-8E72-D127F2EF6273}" type="presParOf" srcId="{263D1411-8B94-4BD3-86FE-2A81E0FA527D}" destId="{8B0DDA86-1B95-48DA-B6BA-3D7A249A161A}" srcOrd="6" destOrd="0" presId="urn:microsoft.com/office/officeart/2005/8/layout/equation1"/>
    <dgm:cxn modelId="{CD6BAFFC-A9B0-41DA-88B5-A0F554764567}" type="presParOf" srcId="{263D1411-8B94-4BD3-86FE-2A81E0FA527D}" destId="{A6376049-2292-4B32-ABDC-EAF619E7D27C}" srcOrd="7" destOrd="0" presId="urn:microsoft.com/office/officeart/2005/8/layout/equation1"/>
    <dgm:cxn modelId="{E2492B6E-2F81-442E-84F2-C95AFB0F8830}" type="presParOf" srcId="{263D1411-8B94-4BD3-86FE-2A81E0FA527D}" destId="{8654DA70-295E-47B4-95D9-098230C9A89A}" srcOrd="8" destOrd="0" presId="urn:microsoft.com/office/officeart/2005/8/layout/equation1"/>
    <dgm:cxn modelId="{B561FD97-1D72-4BB0-A57E-6BFEFC64AECD}" type="presParOf" srcId="{263D1411-8B94-4BD3-86FE-2A81E0FA527D}" destId="{D46D89DA-5BE8-4685-940C-3D53E21A4601}" srcOrd="9" destOrd="0" presId="urn:microsoft.com/office/officeart/2005/8/layout/equation1"/>
    <dgm:cxn modelId="{784EB207-23E9-4902-B058-39923F29008C}" type="presParOf" srcId="{263D1411-8B94-4BD3-86FE-2A81E0FA527D}" destId="{46BABBF9-D006-443D-8111-5C6F404BF7AA}" srcOrd="10" destOrd="0" presId="urn:microsoft.com/office/officeart/2005/8/layout/equation1"/>
    <dgm:cxn modelId="{2FFB14CB-1874-41D4-BDDC-8B5931450C93}" type="presParOf" srcId="{263D1411-8B94-4BD3-86FE-2A81E0FA527D}" destId="{79E14D49-221A-4119-A0CA-7F054AC847A2}" srcOrd="11" destOrd="0" presId="urn:microsoft.com/office/officeart/2005/8/layout/equation1"/>
    <dgm:cxn modelId="{0D1D8947-69ED-42CB-A1C4-A92AFE56906C}" type="presParOf" srcId="{263D1411-8B94-4BD3-86FE-2A81E0FA527D}" destId="{1E63E032-A34B-40F9-9996-7094989E1D20}"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0924796-BDC3-405D-8635-AE34D000321A}"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57EBDB80-F253-46BF-9E5A-2D1499E1E15A}">
      <dgm:prSet/>
      <dgm:spPr>
        <a:xfrm>
          <a:off x="0" y="16655"/>
          <a:ext cx="8335963" cy="643500"/>
        </a:xfrm>
      </dgm:spPr>
      <dgm:t>
        <a:bodyPr/>
        <a:lstStyle/>
        <a:p>
          <a:pPr rtl="0"/>
          <a:r>
            <a:rPr lang="pt-PT" dirty="0"/>
            <a:t>sys.dm_os_wait_stats</a:t>
          </a:r>
        </a:p>
      </dgm:t>
    </dgm:pt>
    <dgm:pt modelId="{8C7F44D3-9D51-4B9B-B6DB-46F0AAC7FC3C}" type="parTrans" cxnId="{75F4DFF6-3474-4E99-9CA6-FBB41C90AD5C}">
      <dgm:prSet/>
      <dgm:spPr/>
      <dgm:t>
        <a:bodyPr/>
        <a:lstStyle/>
        <a:p>
          <a:endParaRPr lang="en-US"/>
        </a:p>
      </dgm:t>
    </dgm:pt>
    <dgm:pt modelId="{3C7700C1-E7C7-4BB1-B2A2-8028AF369FE3}" type="sibTrans" cxnId="{75F4DFF6-3474-4E99-9CA6-FBB41C90AD5C}">
      <dgm:prSet/>
      <dgm:spPr/>
      <dgm:t>
        <a:bodyPr/>
        <a:lstStyle/>
        <a:p>
          <a:endParaRPr lang="en-US"/>
        </a:p>
      </dgm:t>
    </dgm:pt>
    <dgm:pt modelId="{9F9BB641-2FAB-4448-ADFE-0344A891994E}">
      <dgm:prSet/>
      <dgm:spPr>
        <a:xfrm>
          <a:off x="0" y="678449"/>
          <a:ext cx="8335963" cy="1371375"/>
        </a:xfrm>
      </dgm:spPr>
      <dgm:t>
        <a:bodyPr/>
        <a:lstStyle/>
        <a:p>
          <a:pPr rtl="0"/>
          <a:r>
            <a:rPr lang="en-US" dirty="0"/>
            <a:t>Returns information about all the waits encountered by threads that ran.</a:t>
          </a:r>
        </a:p>
      </dgm:t>
    </dgm:pt>
    <dgm:pt modelId="{575070E5-9C94-4B66-8407-4F6704436A63}" type="parTrans" cxnId="{A5E7F190-2776-40F0-8EA0-1E7F87B96C97}">
      <dgm:prSet/>
      <dgm:spPr/>
      <dgm:t>
        <a:bodyPr/>
        <a:lstStyle/>
        <a:p>
          <a:endParaRPr lang="en-US"/>
        </a:p>
      </dgm:t>
    </dgm:pt>
    <dgm:pt modelId="{07E36453-8A29-4AA7-8E47-DA7D9372F853}" type="sibTrans" cxnId="{A5E7F190-2776-40F0-8EA0-1E7F87B96C97}">
      <dgm:prSet/>
      <dgm:spPr/>
      <dgm:t>
        <a:bodyPr/>
        <a:lstStyle/>
        <a:p>
          <a:endParaRPr lang="en-US"/>
        </a:p>
      </dgm:t>
    </dgm:pt>
    <dgm:pt modelId="{63C1DFCD-C2BE-40CC-9A67-5EBC39657F1E}">
      <dgm:prSet/>
      <dgm:spPr>
        <a:xfrm>
          <a:off x="0" y="2049825"/>
          <a:ext cx="8335963" cy="643500"/>
        </a:xfrm>
      </dgm:spPr>
      <dgm:t>
        <a:bodyPr/>
        <a:lstStyle/>
        <a:p>
          <a:pPr rtl="0"/>
          <a:r>
            <a:rPr lang="pt-PT" dirty="0"/>
            <a:t>sys.dm_os_waiting_tasks</a:t>
          </a:r>
        </a:p>
      </dgm:t>
    </dgm:pt>
    <dgm:pt modelId="{7C920847-D1C2-43DD-AD58-1452ADE2643F}" type="parTrans" cxnId="{8C5EFD2C-0A3D-45AA-BFF9-8499B8405326}">
      <dgm:prSet/>
      <dgm:spPr/>
      <dgm:t>
        <a:bodyPr/>
        <a:lstStyle/>
        <a:p>
          <a:endParaRPr lang="en-US"/>
        </a:p>
      </dgm:t>
    </dgm:pt>
    <dgm:pt modelId="{D12D8CD5-7057-4FFF-8934-C6382F9DB915}" type="sibTrans" cxnId="{8C5EFD2C-0A3D-45AA-BFF9-8499B8405326}">
      <dgm:prSet/>
      <dgm:spPr/>
      <dgm:t>
        <a:bodyPr/>
        <a:lstStyle/>
        <a:p>
          <a:endParaRPr lang="en-US"/>
        </a:p>
      </dgm:t>
    </dgm:pt>
    <dgm:pt modelId="{9EDF0C33-87FD-4C95-BE09-E3673D0F4960}">
      <dgm:prSet/>
      <dgm:spPr>
        <a:xfrm>
          <a:off x="0" y="2693325"/>
          <a:ext cx="8335963" cy="672750"/>
        </a:xfrm>
      </dgm:spPr>
      <dgm:t>
        <a:bodyPr/>
        <a:lstStyle/>
        <a:p>
          <a:pPr rtl="0"/>
          <a:r>
            <a:rPr lang="en-US" dirty="0"/>
            <a:t>Returns information about the wait queue of tasks actively waiting on some resource.</a:t>
          </a:r>
        </a:p>
      </dgm:t>
    </dgm:pt>
    <dgm:pt modelId="{6FB6A413-4654-4D26-BE88-EF2191EC0B59}" type="parTrans" cxnId="{35DF8325-A25A-4C39-ADC6-53427D673CCD}">
      <dgm:prSet/>
      <dgm:spPr/>
      <dgm:t>
        <a:bodyPr/>
        <a:lstStyle/>
        <a:p>
          <a:endParaRPr lang="en-US"/>
        </a:p>
      </dgm:t>
    </dgm:pt>
    <dgm:pt modelId="{D3098B60-4B9E-4895-A0CA-EFCD3450C505}" type="sibTrans" cxnId="{35DF8325-A25A-4C39-ADC6-53427D673CCD}">
      <dgm:prSet/>
      <dgm:spPr/>
      <dgm:t>
        <a:bodyPr/>
        <a:lstStyle/>
        <a:p>
          <a:endParaRPr lang="en-US"/>
        </a:p>
      </dgm:t>
    </dgm:pt>
    <dgm:pt modelId="{B80D35A9-A3A0-4029-ADF0-AAC4EC82AC03}">
      <dgm:prSet/>
      <dgm:spPr>
        <a:xfrm>
          <a:off x="0" y="678449"/>
          <a:ext cx="8335963" cy="1371375"/>
        </a:xfrm>
      </dgm:spPr>
      <dgm:t>
        <a:bodyPr/>
        <a:lstStyle/>
        <a:p>
          <a:pPr rtl="0"/>
          <a:r>
            <a:rPr lang="en-US" dirty="0"/>
            <a:t>Includes wait type, number of tasks that waited in the specific wait type, total and max wait times, and the amount of signal waits.</a:t>
          </a:r>
        </a:p>
      </dgm:t>
    </dgm:pt>
    <dgm:pt modelId="{0235F7DF-71A5-417E-9C03-F856B0DD1EC6}" type="parTrans" cxnId="{D928EACA-1BE5-46D3-816D-E15941D5D675}">
      <dgm:prSet/>
      <dgm:spPr/>
      <dgm:t>
        <a:bodyPr/>
        <a:lstStyle/>
        <a:p>
          <a:endParaRPr lang="pt-PT"/>
        </a:p>
      </dgm:t>
    </dgm:pt>
    <dgm:pt modelId="{2523DDD6-974B-4D49-86D3-01B5FB4F4EFB}" type="sibTrans" cxnId="{D928EACA-1BE5-46D3-816D-E15941D5D675}">
      <dgm:prSet/>
      <dgm:spPr/>
      <dgm:t>
        <a:bodyPr/>
        <a:lstStyle/>
        <a:p>
          <a:endParaRPr lang="pt-PT"/>
        </a:p>
      </dgm:t>
    </dgm:pt>
    <dgm:pt modelId="{17E4BA11-76D8-4547-8A7C-4CA58D0DB03D}">
      <dgm:prSet/>
      <dgm:spPr>
        <a:xfrm>
          <a:off x="0" y="3366075"/>
          <a:ext cx="8335963" cy="643500"/>
        </a:xfrm>
      </dgm:spPr>
      <dgm:t>
        <a:bodyPr/>
        <a:lstStyle/>
        <a:p>
          <a:pPr rtl="0"/>
          <a:r>
            <a:rPr lang="en-US" dirty="0" err="1"/>
            <a:t>sys.dm_exec_requests</a:t>
          </a:r>
          <a:endParaRPr lang="en-US" dirty="0"/>
        </a:p>
      </dgm:t>
    </dgm:pt>
    <dgm:pt modelId="{14EE2F79-97D4-4807-97DF-D72DDCBD9834}" type="parTrans" cxnId="{C6C43BA1-04CB-4911-8C01-5745543B21E6}">
      <dgm:prSet/>
      <dgm:spPr/>
      <dgm:t>
        <a:bodyPr/>
        <a:lstStyle/>
        <a:p>
          <a:endParaRPr lang="pt-PT"/>
        </a:p>
      </dgm:t>
    </dgm:pt>
    <dgm:pt modelId="{F6EF99D1-E947-42B8-8FF8-68A2A390A7DA}" type="sibTrans" cxnId="{C6C43BA1-04CB-4911-8C01-5745543B21E6}">
      <dgm:prSet/>
      <dgm:spPr/>
      <dgm:t>
        <a:bodyPr/>
        <a:lstStyle/>
        <a:p>
          <a:endParaRPr lang="pt-PT"/>
        </a:p>
      </dgm:t>
    </dgm:pt>
    <dgm:pt modelId="{942A3FF6-3A1B-4650-895C-071B947EF8C6}">
      <dgm:prSet/>
      <dgm:spPr>
        <a:xfrm>
          <a:off x="0" y="4009575"/>
          <a:ext cx="8335963" cy="1060875"/>
        </a:xfrm>
      </dgm:spPr>
      <dgm:t>
        <a:bodyPr/>
        <a:lstStyle/>
        <a:p>
          <a:pPr rtl="0"/>
          <a:r>
            <a:rPr lang="en-US" dirty="0"/>
            <a:t>Returns information about each request that is in-flight.</a:t>
          </a:r>
        </a:p>
      </dgm:t>
    </dgm:pt>
    <dgm:pt modelId="{095BDA70-2815-4271-ACFB-C0875FF557A6}" type="parTrans" cxnId="{93148D54-DB23-4C89-B537-EB8B062A4917}">
      <dgm:prSet/>
      <dgm:spPr/>
      <dgm:t>
        <a:bodyPr/>
        <a:lstStyle/>
        <a:p>
          <a:endParaRPr lang="pt-PT"/>
        </a:p>
      </dgm:t>
    </dgm:pt>
    <dgm:pt modelId="{23886A03-44F4-4306-9242-88D11191ACE2}" type="sibTrans" cxnId="{93148D54-DB23-4C89-B537-EB8B062A4917}">
      <dgm:prSet/>
      <dgm:spPr/>
      <dgm:t>
        <a:bodyPr/>
        <a:lstStyle/>
        <a:p>
          <a:endParaRPr lang="pt-PT"/>
        </a:p>
      </dgm:t>
    </dgm:pt>
    <dgm:pt modelId="{123F71FC-B355-42BD-B969-9F3EFB6F2BBA}">
      <dgm:prSet/>
      <dgm:spPr>
        <a:xfrm>
          <a:off x="0" y="4009575"/>
          <a:ext cx="8335963" cy="1060875"/>
        </a:xfrm>
      </dgm:spPr>
      <dgm:t>
        <a:bodyPr/>
        <a:lstStyle/>
        <a:p>
          <a:pPr rtl="0"/>
          <a:r>
            <a:rPr lang="en-US" dirty="0"/>
            <a:t>Includes session owning the request and status of the request, which will reflect the status of one or more tasks assigned to the request.</a:t>
          </a:r>
        </a:p>
      </dgm:t>
    </dgm:pt>
    <dgm:pt modelId="{B258E78A-3BF2-4E4E-81C1-008F338747C8}" type="parTrans" cxnId="{74235EC6-161A-465B-B607-6A9762227703}">
      <dgm:prSet/>
      <dgm:spPr/>
      <dgm:t>
        <a:bodyPr/>
        <a:lstStyle/>
        <a:p>
          <a:endParaRPr lang="pt-PT"/>
        </a:p>
      </dgm:t>
    </dgm:pt>
    <dgm:pt modelId="{6CFA2A05-50F1-4CE0-AD34-44875D874BA5}" type="sibTrans" cxnId="{74235EC6-161A-465B-B607-6A9762227703}">
      <dgm:prSet/>
      <dgm:spPr/>
      <dgm:t>
        <a:bodyPr/>
        <a:lstStyle/>
        <a:p>
          <a:endParaRPr lang="pt-PT"/>
        </a:p>
      </dgm:t>
    </dgm:pt>
    <dgm:pt modelId="{19933C88-1E71-4DC9-BD8B-5302FE6957D6}" type="pres">
      <dgm:prSet presAssocID="{A0924796-BDC3-405D-8635-AE34D000321A}" presName="linear" presStyleCnt="0">
        <dgm:presLayoutVars>
          <dgm:dir/>
          <dgm:animLvl val="lvl"/>
          <dgm:resizeHandles val="exact"/>
        </dgm:presLayoutVars>
      </dgm:prSet>
      <dgm:spPr/>
    </dgm:pt>
    <dgm:pt modelId="{ACBC4954-B2E8-4CC5-969C-34FC3CECA582}" type="pres">
      <dgm:prSet presAssocID="{57EBDB80-F253-46BF-9E5A-2D1499E1E15A}" presName="parentLin" presStyleCnt="0"/>
      <dgm:spPr/>
    </dgm:pt>
    <dgm:pt modelId="{54C2CE82-B91E-4EC7-9449-4AE81A3E8996}" type="pres">
      <dgm:prSet presAssocID="{57EBDB80-F253-46BF-9E5A-2D1499E1E15A}" presName="parentLeftMargin" presStyleLbl="node1" presStyleIdx="0" presStyleCnt="3"/>
      <dgm:spPr/>
    </dgm:pt>
    <dgm:pt modelId="{C07A040C-EF9E-45F2-9214-97707786A867}" type="pres">
      <dgm:prSet presAssocID="{57EBDB80-F253-46BF-9E5A-2D1499E1E15A}" presName="parentText" presStyleLbl="node1" presStyleIdx="0" presStyleCnt="3">
        <dgm:presLayoutVars>
          <dgm:chMax val="0"/>
          <dgm:bulletEnabled val="1"/>
        </dgm:presLayoutVars>
      </dgm:prSet>
      <dgm:spPr/>
    </dgm:pt>
    <dgm:pt modelId="{195D2AE1-841F-4288-96DE-D9D57DE6DDB0}" type="pres">
      <dgm:prSet presAssocID="{57EBDB80-F253-46BF-9E5A-2D1499E1E15A}" presName="negativeSpace" presStyleCnt="0"/>
      <dgm:spPr/>
    </dgm:pt>
    <dgm:pt modelId="{E29B919B-8852-4200-8241-428B1FA32C75}" type="pres">
      <dgm:prSet presAssocID="{57EBDB80-F253-46BF-9E5A-2D1499E1E15A}" presName="childText" presStyleLbl="conFgAcc1" presStyleIdx="0" presStyleCnt="3">
        <dgm:presLayoutVars>
          <dgm:bulletEnabled val="1"/>
        </dgm:presLayoutVars>
      </dgm:prSet>
      <dgm:spPr/>
    </dgm:pt>
    <dgm:pt modelId="{4E0E3D7A-D142-4476-8CF5-E9D89D1BD3A2}" type="pres">
      <dgm:prSet presAssocID="{3C7700C1-E7C7-4BB1-B2A2-8028AF369FE3}" presName="spaceBetweenRectangles" presStyleCnt="0"/>
      <dgm:spPr/>
    </dgm:pt>
    <dgm:pt modelId="{6ACF6DA3-3984-41F5-B0C3-C1727FF4C8AC}" type="pres">
      <dgm:prSet presAssocID="{63C1DFCD-C2BE-40CC-9A67-5EBC39657F1E}" presName="parentLin" presStyleCnt="0"/>
      <dgm:spPr/>
    </dgm:pt>
    <dgm:pt modelId="{02AD1B8A-6FAE-4B03-8DAF-95A90786F9A0}" type="pres">
      <dgm:prSet presAssocID="{63C1DFCD-C2BE-40CC-9A67-5EBC39657F1E}" presName="parentLeftMargin" presStyleLbl="node1" presStyleIdx="0" presStyleCnt="3"/>
      <dgm:spPr/>
    </dgm:pt>
    <dgm:pt modelId="{83AE0A70-2509-45B2-A632-605C7EC79E8F}" type="pres">
      <dgm:prSet presAssocID="{63C1DFCD-C2BE-40CC-9A67-5EBC39657F1E}" presName="parentText" presStyleLbl="node1" presStyleIdx="1" presStyleCnt="3">
        <dgm:presLayoutVars>
          <dgm:chMax val="0"/>
          <dgm:bulletEnabled val="1"/>
        </dgm:presLayoutVars>
      </dgm:prSet>
      <dgm:spPr/>
    </dgm:pt>
    <dgm:pt modelId="{E251AF9D-8826-43DB-B446-B21489D31A54}" type="pres">
      <dgm:prSet presAssocID="{63C1DFCD-C2BE-40CC-9A67-5EBC39657F1E}" presName="negativeSpace" presStyleCnt="0"/>
      <dgm:spPr/>
    </dgm:pt>
    <dgm:pt modelId="{F5EC977E-C613-4B96-A43C-60E20366B299}" type="pres">
      <dgm:prSet presAssocID="{63C1DFCD-C2BE-40CC-9A67-5EBC39657F1E}" presName="childText" presStyleLbl="conFgAcc1" presStyleIdx="1" presStyleCnt="3">
        <dgm:presLayoutVars>
          <dgm:bulletEnabled val="1"/>
        </dgm:presLayoutVars>
      </dgm:prSet>
      <dgm:spPr/>
    </dgm:pt>
    <dgm:pt modelId="{1EF2708A-B615-4700-9D41-C2F43A922A11}" type="pres">
      <dgm:prSet presAssocID="{D12D8CD5-7057-4FFF-8934-C6382F9DB915}" presName="spaceBetweenRectangles" presStyleCnt="0"/>
      <dgm:spPr/>
    </dgm:pt>
    <dgm:pt modelId="{25D28F1E-FB1F-4F1C-B729-24FDC1C88269}" type="pres">
      <dgm:prSet presAssocID="{17E4BA11-76D8-4547-8A7C-4CA58D0DB03D}" presName="parentLin" presStyleCnt="0"/>
      <dgm:spPr/>
    </dgm:pt>
    <dgm:pt modelId="{C3B84640-F38D-45A0-8623-B6D2B8250F4F}" type="pres">
      <dgm:prSet presAssocID="{17E4BA11-76D8-4547-8A7C-4CA58D0DB03D}" presName="parentLeftMargin" presStyleLbl="node1" presStyleIdx="1" presStyleCnt="3"/>
      <dgm:spPr/>
    </dgm:pt>
    <dgm:pt modelId="{13D6AD74-28B3-40F7-860A-D3D90B551BB7}" type="pres">
      <dgm:prSet presAssocID="{17E4BA11-76D8-4547-8A7C-4CA58D0DB03D}" presName="parentText" presStyleLbl="node1" presStyleIdx="2" presStyleCnt="3">
        <dgm:presLayoutVars>
          <dgm:chMax val="0"/>
          <dgm:bulletEnabled val="1"/>
        </dgm:presLayoutVars>
      </dgm:prSet>
      <dgm:spPr/>
    </dgm:pt>
    <dgm:pt modelId="{31D0AF1A-45FC-4414-A90F-17973BCD7F9D}" type="pres">
      <dgm:prSet presAssocID="{17E4BA11-76D8-4547-8A7C-4CA58D0DB03D}" presName="negativeSpace" presStyleCnt="0"/>
      <dgm:spPr/>
    </dgm:pt>
    <dgm:pt modelId="{64039597-9573-42C8-9A8B-A77492C84F44}" type="pres">
      <dgm:prSet presAssocID="{17E4BA11-76D8-4547-8A7C-4CA58D0DB03D}" presName="childText" presStyleLbl="conFgAcc1" presStyleIdx="2" presStyleCnt="3">
        <dgm:presLayoutVars>
          <dgm:bulletEnabled val="1"/>
        </dgm:presLayoutVars>
      </dgm:prSet>
      <dgm:spPr/>
    </dgm:pt>
  </dgm:ptLst>
  <dgm:cxnLst>
    <dgm:cxn modelId="{8193FB07-2FF7-420E-93B2-8A5570561465}" type="presOf" srcId="{63C1DFCD-C2BE-40CC-9A67-5EBC39657F1E}" destId="{83AE0A70-2509-45B2-A632-605C7EC79E8F}" srcOrd="1" destOrd="0" presId="urn:microsoft.com/office/officeart/2005/8/layout/list1"/>
    <dgm:cxn modelId="{6EA9D80B-9327-42BD-8868-1887552E47CF}" type="presOf" srcId="{123F71FC-B355-42BD-B969-9F3EFB6F2BBA}" destId="{64039597-9573-42C8-9A8B-A77492C84F44}" srcOrd="0" destOrd="1" presId="urn:microsoft.com/office/officeart/2005/8/layout/list1"/>
    <dgm:cxn modelId="{005C4211-6BF3-4029-95E0-B8BE1B718473}" type="presOf" srcId="{B80D35A9-A3A0-4029-ADF0-AAC4EC82AC03}" destId="{E29B919B-8852-4200-8241-428B1FA32C75}" srcOrd="0" destOrd="1" presId="urn:microsoft.com/office/officeart/2005/8/layout/list1"/>
    <dgm:cxn modelId="{D0EF0525-CEC2-4362-A01D-B6E57527D99C}" type="presOf" srcId="{57EBDB80-F253-46BF-9E5A-2D1499E1E15A}" destId="{54C2CE82-B91E-4EC7-9449-4AE81A3E8996}" srcOrd="0" destOrd="0" presId="urn:microsoft.com/office/officeart/2005/8/layout/list1"/>
    <dgm:cxn modelId="{35DF8325-A25A-4C39-ADC6-53427D673CCD}" srcId="{63C1DFCD-C2BE-40CC-9A67-5EBC39657F1E}" destId="{9EDF0C33-87FD-4C95-BE09-E3673D0F4960}" srcOrd="0" destOrd="0" parTransId="{6FB6A413-4654-4D26-BE88-EF2191EC0B59}" sibTransId="{D3098B60-4B9E-4895-A0CA-EFCD3450C505}"/>
    <dgm:cxn modelId="{8C5EFD2C-0A3D-45AA-BFF9-8499B8405326}" srcId="{A0924796-BDC3-405D-8635-AE34D000321A}" destId="{63C1DFCD-C2BE-40CC-9A67-5EBC39657F1E}" srcOrd="1" destOrd="0" parTransId="{7C920847-D1C2-43DD-AD58-1452ADE2643F}" sibTransId="{D12D8CD5-7057-4FFF-8934-C6382F9DB915}"/>
    <dgm:cxn modelId="{30C5453A-56E3-4026-8B62-7CF304E1B676}" type="presOf" srcId="{57EBDB80-F253-46BF-9E5A-2D1499E1E15A}" destId="{C07A040C-EF9E-45F2-9214-97707786A867}" srcOrd="1" destOrd="0" presId="urn:microsoft.com/office/officeart/2005/8/layout/list1"/>
    <dgm:cxn modelId="{E6854F46-DFF4-45F6-9004-30CC7CAF3C97}" type="presOf" srcId="{9F9BB641-2FAB-4448-ADFE-0344A891994E}" destId="{E29B919B-8852-4200-8241-428B1FA32C75}" srcOrd="0" destOrd="0" presId="urn:microsoft.com/office/officeart/2005/8/layout/list1"/>
    <dgm:cxn modelId="{D0B2D949-80A6-40A8-9EAF-913380AB9DBE}" type="presOf" srcId="{942A3FF6-3A1B-4650-895C-071B947EF8C6}" destId="{64039597-9573-42C8-9A8B-A77492C84F44}" srcOrd="0" destOrd="0" presId="urn:microsoft.com/office/officeart/2005/8/layout/list1"/>
    <dgm:cxn modelId="{9211424A-D2A3-4A1F-8FFA-F5DA87CD3438}" type="presOf" srcId="{A0924796-BDC3-405D-8635-AE34D000321A}" destId="{19933C88-1E71-4DC9-BD8B-5302FE6957D6}" srcOrd="0" destOrd="0" presId="urn:microsoft.com/office/officeart/2005/8/layout/list1"/>
    <dgm:cxn modelId="{93148D54-DB23-4C89-B537-EB8B062A4917}" srcId="{17E4BA11-76D8-4547-8A7C-4CA58D0DB03D}" destId="{942A3FF6-3A1B-4650-895C-071B947EF8C6}" srcOrd="0" destOrd="0" parTransId="{095BDA70-2815-4271-ACFB-C0875FF557A6}" sibTransId="{23886A03-44F4-4306-9242-88D11191ACE2}"/>
    <dgm:cxn modelId="{83A26B58-DA1B-4DBB-AF79-2FB2853E7287}" type="presOf" srcId="{63C1DFCD-C2BE-40CC-9A67-5EBC39657F1E}" destId="{02AD1B8A-6FAE-4B03-8DAF-95A90786F9A0}" srcOrd="0" destOrd="0" presId="urn:microsoft.com/office/officeart/2005/8/layout/list1"/>
    <dgm:cxn modelId="{A5E7F190-2776-40F0-8EA0-1E7F87B96C97}" srcId="{57EBDB80-F253-46BF-9E5A-2D1499E1E15A}" destId="{9F9BB641-2FAB-4448-ADFE-0344A891994E}" srcOrd="0" destOrd="0" parTransId="{575070E5-9C94-4B66-8407-4F6704436A63}" sibTransId="{07E36453-8A29-4AA7-8E47-DA7D9372F853}"/>
    <dgm:cxn modelId="{C6C43BA1-04CB-4911-8C01-5745543B21E6}" srcId="{A0924796-BDC3-405D-8635-AE34D000321A}" destId="{17E4BA11-76D8-4547-8A7C-4CA58D0DB03D}" srcOrd="2" destOrd="0" parTransId="{14EE2F79-97D4-4807-97DF-D72DDCBD9834}" sibTransId="{F6EF99D1-E947-42B8-8FF8-68A2A390A7DA}"/>
    <dgm:cxn modelId="{74235EC6-161A-465B-B607-6A9762227703}" srcId="{17E4BA11-76D8-4547-8A7C-4CA58D0DB03D}" destId="{123F71FC-B355-42BD-B969-9F3EFB6F2BBA}" srcOrd="1" destOrd="0" parTransId="{B258E78A-3BF2-4E4E-81C1-008F338747C8}" sibTransId="{6CFA2A05-50F1-4CE0-AD34-44875D874BA5}"/>
    <dgm:cxn modelId="{0EFDB6C9-F8F1-4F5E-AEC5-D3F4DC36DBB2}" type="presOf" srcId="{17E4BA11-76D8-4547-8A7C-4CA58D0DB03D}" destId="{C3B84640-F38D-45A0-8623-B6D2B8250F4F}" srcOrd="0" destOrd="0" presId="urn:microsoft.com/office/officeart/2005/8/layout/list1"/>
    <dgm:cxn modelId="{D928EACA-1BE5-46D3-816D-E15941D5D675}" srcId="{57EBDB80-F253-46BF-9E5A-2D1499E1E15A}" destId="{B80D35A9-A3A0-4029-ADF0-AAC4EC82AC03}" srcOrd="1" destOrd="0" parTransId="{0235F7DF-71A5-417E-9C03-F856B0DD1EC6}" sibTransId="{2523DDD6-974B-4D49-86D3-01B5FB4F4EFB}"/>
    <dgm:cxn modelId="{5C706EF3-E870-41FA-9FCE-F71A0FF9A730}" type="presOf" srcId="{9EDF0C33-87FD-4C95-BE09-E3673D0F4960}" destId="{F5EC977E-C613-4B96-A43C-60E20366B299}" srcOrd="0" destOrd="0" presId="urn:microsoft.com/office/officeart/2005/8/layout/list1"/>
    <dgm:cxn modelId="{75F4DFF6-3474-4E99-9CA6-FBB41C90AD5C}" srcId="{A0924796-BDC3-405D-8635-AE34D000321A}" destId="{57EBDB80-F253-46BF-9E5A-2D1499E1E15A}" srcOrd="0" destOrd="0" parTransId="{8C7F44D3-9D51-4B9B-B6DB-46F0AAC7FC3C}" sibTransId="{3C7700C1-E7C7-4BB1-B2A2-8028AF369FE3}"/>
    <dgm:cxn modelId="{731494FF-12D2-4877-92C6-981307C6DF32}" type="presOf" srcId="{17E4BA11-76D8-4547-8A7C-4CA58D0DB03D}" destId="{13D6AD74-28B3-40F7-860A-D3D90B551BB7}" srcOrd="1" destOrd="0" presId="urn:microsoft.com/office/officeart/2005/8/layout/list1"/>
    <dgm:cxn modelId="{FFFDE9CF-F993-49C5-8546-B267A0D2E3CC}" type="presParOf" srcId="{19933C88-1E71-4DC9-BD8B-5302FE6957D6}" destId="{ACBC4954-B2E8-4CC5-969C-34FC3CECA582}" srcOrd="0" destOrd="0" presId="urn:microsoft.com/office/officeart/2005/8/layout/list1"/>
    <dgm:cxn modelId="{EBEC4C88-546F-4E2B-A26C-766877F60EE8}" type="presParOf" srcId="{ACBC4954-B2E8-4CC5-969C-34FC3CECA582}" destId="{54C2CE82-B91E-4EC7-9449-4AE81A3E8996}" srcOrd="0" destOrd="0" presId="urn:microsoft.com/office/officeart/2005/8/layout/list1"/>
    <dgm:cxn modelId="{48C95517-DD34-4DD2-9F84-510BB18A113E}" type="presParOf" srcId="{ACBC4954-B2E8-4CC5-969C-34FC3CECA582}" destId="{C07A040C-EF9E-45F2-9214-97707786A867}" srcOrd="1" destOrd="0" presId="urn:microsoft.com/office/officeart/2005/8/layout/list1"/>
    <dgm:cxn modelId="{D4205CAE-E972-4F22-AE56-5A20CF312D72}" type="presParOf" srcId="{19933C88-1E71-4DC9-BD8B-5302FE6957D6}" destId="{195D2AE1-841F-4288-96DE-D9D57DE6DDB0}" srcOrd="1" destOrd="0" presId="urn:microsoft.com/office/officeart/2005/8/layout/list1"/>
    <dgm:cxn modelId="{44EB41D8-010F-4B17-95AF-278707A92DAB}" type="presParOf" srcId="{19933C88-1E71-4DC9-BD8B-5302FE6957D6}" destId="{E29B919B-8852-4200-8241-428B1FA32C75}" srcOrd="2" destOrd="0" presId="urn:microsoft.com/office/officeart/2005/8/layout/list1"/>
    <dgm:cxn modelId="{F39DE50A-5EB6-4A16-917D-D294E7CB79C9}" type="presParOf" srcId="{19933C88-1E71-4DC9-BD8B-5302FE6957D6}" destId="{4E0E3D7A-D142-4476-8CF5-E9D89D1BD3A2}" srcOrd="3" destOrd="0" presId="urn:microsoft.com/office/officeart/2005/8/layout/list1"/>
    <dgm:cxn modelId="{9741235F-0047-4A35-BAE6-CBF68EDA4BB8}" type="presParOf" srcId="{19933C88-1E71-4DC9-BD8B-5302FE6957D6}" destId="{6ACF6DA3-3984-41F5-B0C3-C1727FF4C8AC}" srcOrd="4" destOrd="0" presId="urn:microsoft.com/office/officeart/2005/8/layout/list1"/>
    <dgm:cxn modelId="{340A7B64-80B8-4978-AAAB-8F4C2680609D}" type="presParOf" srcId="{6ACF6DA3-3984-41F5-B0C3-C1727FF4C8AC}" destId="{02AD1B8A-6FAE-4B03-8DAF-95A90786F9A0}" srcOrd="0" destOrd="0" presId="urn:microsoft.com/office/officeart/2005/8/layout/list1"/>
    <dgm:cxn modelId="{500BD6AE-1F74-4777-87DA-88E3264DF83D}" type="presParOf" srcId="{6ACF6DA3-3984-41F5-B0C3-C1727FF4C8AC}" destId="{83AE0A70-2509-45B2-A632-605C7EC79E8F}" srcOrd="1" destOrd="0" presId="urn:microsoft.com/office/officeart/2005/8/layout/list1"/>
    <dgm:cxn modelId="{FF4ADCA6-D788-428E-AD94-6F5DD17D63E3}" type="presParOf" srcId="{19933C88-1E71-4DC9-BD8B-5302FE6957D6}" destId="{E251AF9D-8826-43DB-B446-B21489D31A54}" srcOrd="5" destOrd="0" presId="urn:microsoft.com/office/officeart/2005/8/layout/list1"/>
    <dgm:cxn modelId="{6762693C-6236-44B9-BABD-C42B9751937D}" type="presParOf" srcId="{19933C88-1E71-4DC9-BD8B-5302FE6957D6}" destId="{F5EC977E-C613-4B96-A43C-60E20366B299}" srcOrd="6" destOrd="0" presId="urn:microsoft.com/office/officeart/2005/8/layout/list1"/>
    <dgm:cxn modelId="{56ACFC74-4872-433F-A412-08CABEC5E3E0}" type="presParOf" srcId="{19933C88-1E71-4DC9-BD8B-5302FE6957D6}" destId="{1EF2708A-B615-4700-9D41-C2F43A922A11}" srcOrd="7" destOrd="0" presId="urn:microsoft.com/office/officeart/2005/8/layout/list1"/>
    <dgm:cxn modelId="{67EBCD3E-893F-4E67-A062-E317E3C84BD7}" type="presParOf" srcId="{19933C88-1E71-4DC9-BD8B-5302FE6957D6}" destId="{25D28F1E-FB1F-4F1C-B729-24FDC1C88269}" srcOrd="8" destOrd="0" presId="urn:microsoft.com/office/officeart/2005/8/layout/list1"/>
    <dgm:cxn modelId="{DA07E68A-DF44-4EEC-AB6C-82B4AA8CD0EA}" type="presParOf" srcId="{25D28F1E-FB1F-4F1C-B729-24FDC1C88269}" destId="{C3B84640-F38D-45A0-8623-B6D2B8250F4F}" srcOrd="0" destOrd="0" presId="urn:microsoft.com/office/officeart/2005/8/layout/list1"/>
    <dgm:cxn modelId="{80F5BA94-2A3E-409B-B27C-CE2C5D2D34CE}" type="presParOf" srcId="{25D28F1E-FB1F-4F1C-B729-24FDC1C88269}" destId="{13D6AD74-28B3-40F7-860A-D3D90B551BB7}" srcOrd="1" destOrd="0" presId="urn:microsoft.com/office/officeart/2005/8/layout/list1"/>
    <dgm:cxn modelId="{61A0E98E-19B9-46CC-B1D2-CB7C4B907697}" type="presParOf" srcId="{19933C88-1E71-4DC9-BD8B-5302FE6957D6}" destId="{31D0AF1A-45FC-4414-A90F-17973BCD7F9D}" srcOrd="9" destOrd="0" presId="urn:microsoft.com/office/officeart/2005/8/layout/list1"/>
    <dgm:cxn modelId="{C1F9E4A4-6763-4939-AA03-BE9935DE0102}" type="presParOf" srcId="{19933C88-1E71-4DC9-BD8B-5302FE6957D6}" destId="{64039597-9573-42C8-9A8B-A77492C84F44}"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5E0264A1-A044-402E-9DCD-DD6262316D9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E6B7415F-41AE-46B5-BFC9-737584FE6827}">
      <dgm:prSet custT="1"/>
      <dgm:spPr/>
      <dgm:t>
        <a:bodyPr/>
        <a:lstStyle/>
        <a:p>
          <a:r>
            <a:rPr lang="en-US" sz="2400" b="0" baseline="0" dirty="0">
              <a:latin typeface="+mn-lt"/>
            </a:rPr>
            <a:t>SOS_SCHEDULER_YIELD</a:t>
          </a:r>
          <a:endParaRPr lang="en-US" sz="2400" b="0" dirty="0">
            <a:latin typeface="+mn-lt"/>
          </a:endParaRPr>
        </a:p>
      </dgm:t>
    </dgm:pt>
    <dgm:pt modelId="{BB62288F-4332-4E32-B40F-37241D3BC35D}" type="parTrans" cxnId="{37A37987-301B-4054-8F95-0629BC3919B6}">
      <dgm:prSet/>
      <dgm:spPr/>
      <dgm:t>
        <a:bodyPr/>
        <a:lstStyle/>
        <a:p>
          <a:endParaRPr lang="en-US"/>
        </a:p>
      </dgm:t>
    </dgm:pt>
    <dgm:pt modelId="{CBC93627-14E5-4044-BF23-DB682E2806F4}" type="sibTrans" cxnId="{37A37987-301B-4054-8F95-0629BC3919B6}">
      <dgm:prSet/>
      <dgm:spPr/>
      <dgm:t>
        <a:bodyPr/>
        <a:lstStyle/>
        <a:p>
          <a:endParaRPr lang="en-US"/>
        </a:p>
      </dgm:t>
    </dgm:pt>
    <dgm:pt modelId="{1A5CF1FD-8847-4810-B583-D8E5707E3BC7}">
      <dgm:prSet custT="1"/>
      <dgm:spPr/>
      <dgm:t>
        <a:bodyPr/>
        <a:lstStyle/>
        <a:p>
          <a:r>
            <a:rPr lang="en-US" sz="2400" b="0" baseline="0" dirty="0">
              <a:latin typeface="+mn-lt"/>
            </a:rPr>
            <a:t>CXPACKET</a:t>
          </a:r>
          <a:endParaRPr lang="en-US" sz="2400" b="0" kern="1200" spc="0" baseline="0" dirty="0">
            <a:latin typeface="+mn-lt"/>
            <a:ea typeface="+mn-ea"/>
            <a:cs typeface="Segoe UI" panose="020B0502040204020203" pitchFamily="34" charset="0"/>
          </a:endParaRPr>
        </a:p>
      </dgm:t>
    </dgm:pt>
    <dgm:pt modelId="{B8CCD8A2-242E-416D-B659-6CD4AFD54226}" type="parTrans" cxnId="{E34BB079-0A2E-4D3C-8654-3CCCF90CF278}">
      <dgm:prSet/>
      <dgm:spPr/>
      <dgm:t>
        <a:bodyPr/>
        <a:lstStyle/>
        <a:p>
          <a:endParaRPr lang="en-US"/>
        </a:p>
      </dgm:t>
    </dgm:pt>
    <dgm:pt modelId="{BCC8C011-E09F-482C-B551-40069F2E515B}" type="sibTrans" cxnId="{E34BB079-0A2E-4D3C-8654-3CCCF90CF278}">
      <dgm:prSet/>
      <dgm:spPr/>
      <dgm:t>
        <a:bodyPr/>
        <a:lstStyle/>
        <a:p>
          <a:endParaRPr lang="en-US"/>
        </a:p>
      </dgm:t>
    </dgm:pt>
    <dgm:pt modelId="{CA82A5DA-8153-493A-ADD5-316A0D209425}">
      <dgm:prSet custT="1"/>
      <dgm:spPr/>
      <dgm:t>
        <a:bodyPr/>
        <a:lstStyle/>
        <a:p>
          <a:r>
            <a:rPr lang="en-US" sz="2400" b="0" kern="1200" dirty="0" err="1">
              <a:latin typeface="+mn-lt"/>
              <a:ea typeface="+mn-ea"/>
              <a:cs typeface="Segoe UI Light" panose="020B0502040204020203" pitchFamily="34" charset="0"/>
            </a:rPr>
            <a:t>PAGELATCH_xx</a:t>
          </a:r>
          <a:endParaRPr lang="en-US" sz="2400" b="0" kern="1200" spc="0" baseline="0" dirty="0">
            <a:latin typeface="+mn-lt"/>
            <a:ea typeface="+mn-ea"/>
            <a:cs typeface="Segoe UI" panose="020B0502040204020203" pitchFamily="34" charset="0"/>
          </a:endParaRPr>
        </a:p>
      </dgm:t>
    </dgm:pt>
    <dgm:pt modelId="{E6E0BDD1-D39D-4378-A522-73B6955985FE}" type="parTrans" cxnId="{FD6BD07C-B3CA-4B75-B7FE-68F20AB94CA2}">
      <dgm:prSet/>
      <dgm:spPr/>
      <dgm:t>
        <a:bodyPr/>
        <a:lstStyle/>
        <a:p>
          <a:endParaRPr lang="en-US"/>
        </a:p>
      </dgm:t>
    </dgm:pt>
    <dgm:pt modelId="{69097AFF-5DA1-4560-8BC2-EC51D1B05649}" type="sibTrans" cxnId="{FD6BD07C-B3CA-4B75-B7FE-68F20AB94CA2}">
      <dgm:prSet/>
      <dgm:spPr/>
      <dgm:t>
        <a:bodyPr/>
        <a:lstStyle/>
        <a:p>
          <a:endParaRPr lang="en-US"/>
        </a:p>
      </dgm:t>
    </dgm:pt>
    <dgm:pt modelId="{DE9FACA9-3477-4D7F-8344-16438910813A}">
      <dgm:prSet custT="1"/>
      <dgm:spPr/>
      <dgm:t>
        <a:bodyPr/>
        <a:lstStyle/>
        <a:p>
          <a:r>
            <a:rPr lang="en-US" sz="2400" b="0" kern="1200" dirty="0" err="1">
              <a:latin typeface="+mn-lt"/>
              <a:ea typeface="+mn-ea"/>
              <a:cs typeface="Segoe UI Light" panose="020B0502040204020203" pitchFamily="34" charset="0"/>
            </a:rPr>
            <a:t>PAGEIOLATCH_xx</a:t>
          </a:r>
          <a:endParaRPr lang="en-US" sz="2400" b="0" kern="1200" spc="0" baseline="0" dirty="0">
            <a:latin typeface="+mn-lt"/>
            <a:ea typeface="+mn-ea"/>
            <a:cs typeface="Segoe UI" panose="020B0502040204020203" pitchFamily="34" charset="0"/>
          </a:endParaRPr>
        </a:p>
      </dgm:t>
    </dgm:pt>
    <dgm:pt modelId="{CE92FCA4-CDD7-445A-AC59-76B4D3B51A1C}" type="parTrans" cxnId="{C1F2122E-580A-4C86-8C38-3A17127A8F39}">
      <dgm:prSet/>
      <dgm:spPr/>
      <dgm:t>
        <a:bodyPr/>
        <a:lstStyle/>
        <a:p>
          <a:endParaRPr lang="en-US"/>
        </a:p>
      </dgm:t>
    </dgm:pt>
    <dgm:pt modelId="{9BC8B941-8064-455F-AE72-798B43F88618}" type="sibTrans" cxnId="{C1F2122E-580A-4C86-8C38-3A17127A8F39}">
      <dgm:prSet/>
      <dgm:spPr/>
      <dgm:t>
        <a:bodyPr/>
        <a:lstStyle/>
        <a:p>
          <a:endParaRPr lang="en-US"/>
        </a:p>
      </dgm:t>
    </dgm:pt>
    <dgm:pt modelId="{CF34187F-23A6-4692-9405-72EC79E149CA}">
      <dgm:prSet custT="1"/>
      <dgm:spPr>
        <a:xfrm>
          <a:off x="0" y="17800"/>
          <a:ext cx="8128000" cy="669240"/>
        </a:xfrm>
      </dgm:spPr>
      <dgm:t>
        <a:bodyPr/>
        <a:lstStyle/>
        <a:p>
          <a:r>
            <a:rPr lang="en-US" sz="2400" b="0" kern="1200" dirty="0">
              <a:latin typeface="+mn-lt"/>
              <a:ea typeface="+mn-ea"/>
              <a:cs typeface="Segoe UI Light" panose="020B0502040204020203" pitchFamily="34" charset="0"/>
            </a:rPr>
            <a:t>IO_COMPLETION </a:t>
          </a:r>
          <a:endParaRPr lang="en-US" sz="2400" b="0" kern="1200" spc="0" baseline="0" dirty="0">
            <a:latin typeface="+mn-lt"/>
            <a:ea typeface="+mn-ea"/>
            <a:cs typeface="Segoe UI" panose="020B0502040204020203" pitchFamily="34" charset="0"/>
          </a:endParaRPr>
        </a:p>
      </dgm:t>
    </dgm:pt>
    <dgm:pt modelId="{B925EC27-DD6A-4FED-ADDE-108D4217EA4E}" type="parTrans" cxnId="{9B86C307-97E7-4EC0-B6C1-416AA2BE590A}">
      <dgm:prSet/>
      <dgm:spPr/>
      <dgm:t>
        <a:bodyPr/>
        <a:lstStyle/>
        <a:p>
          <a:endParaRPr lang="en-US"/>
        </a:p>
      </dgm:t>
    </dgm:pt>
    <dgm:pt modelId="{A0D3C0C8-61BA-48D4-9619-C14460E98BFD}" type="sibTrans" cxnId="{9B86C307-97E7-4EC0-B6C1-416AA2BE590A}">
      <dgm:prSet/>
      <dgm:spPr/>
      <dgm:t>
        <a:bodyPr/>
        <a:lstStyle/>
        <a:p>
          <a:endParaRPr lang="en-US"/>
        </a:p>
      </dgm:t>
    </dgm:pt>
    <dgm:pt modelId="{25D04CA3-75D5-475E-8B18-401E62DFEB28}">
      <dgm:prSet custT="1"/>
      <dgm:spPr>
        <a:xfrm>
          <a:off x="0" y="1117600"/>
          <a:ext cx="8128000" cy="669240"/>
        </a:xfrm>
      </dgm:spPr>
      <dgm:t>
        <a:bodyPr/>
        <a:lstStyle/>
        <a:p>
          <a:r>
            <a:rPr lang="en-US" sz="2400" b="0" dirty="0">
              <a:latin typeface="+mn-lt"/>
              <a:ea typeface="+mn-ea"/>
              <a:cs typeface="Segoe UI Light" panose="020B0502040204020203" pitchFamily="34" charset="0"/>
            </a:rPr>
            <a:t>ASYNC_IO_COMPLETION </a:t>
          </a:r>
          <a:endParaRPr lang="pt-PT" sz="2400" b="0" dirty="0">
            <a:latin typeface="+mn-lt"/>
            <a:ea typeface="+mn-ea"/>
            <a:cs typeface="+mn-cs"/>
          </a:endParaRPr>
        </a:p>
      </dgm:t>
    </dgm:pt>
    <dgm:pt modelId="{0347E506-39FD-4FD9-A6C6-27C33D1A5321}" type="parTrans" cxnId="{ACA583C2-B44D-444A-A50D-5DBF0174E961}">
      <dgm:prSet/>
      <dgm:spPr/>
      <dgm:t>
        <a:bodyPr/>
        <a:lstStyle/>
        <a:p>
          <a:endParaRPr lang="en-US"/>
        </a:p>
      </dgm:t>
    </dgm:pt>
    <dgm:pt modelId="{5DD2722A-FDDA-4B80-AFEA-F48826FC4EE0}" type="sibTrans" cxnId="{ACA583C2-B44D-444A-A50D-5DBF0174E961}">
      <dgm:prSet/>
      <dgm:spPr/>
      <dgm:t>
        <a:bodyPr/>
        <a:lstStyle/>
        <a:p>
          <a:endParaRPr lang="en-US"/>
        </a:p>
      </dgm:t>
    </dgm:pt>
    <dgm:pt modelId="{EB8DF0C2-FDA6-4E0A-8F6F-BAE6093389FA}">
      <dgm:prSet custT="1"/>
      <dgm:spPr>
        <a:xfrm>
          <a:off x="0" y="2217400"/>
          <a:ext cx="8128000" cy="669240"/>
        </a:xfrm>
      </dgm:spPr>
      <dgm:t>
        <a:bodyPr/>
        <a:lstStyle/>
        <a:p>
          <a:r>
            <a:rPr lang="en-US" sz="2400" b="0" dirty="0">
              <a:latin typeface="+mn-lt"/>
              <a:ea typeface="+mn-ea"/>
              <a:cs typeface="Segoe UI Light" panose="020B0502040204020203" pitchFamily="34" charset="0"/>
            </a:rPr>
            <a:t>WRITELOG</a:t>
          </a:r>
          <a:endParaRPr lang="pt-PT" sz="2400" b="0" dirty="0">
            <a:latin typeface="+mn-lt"/>
            <a:ea typeface="+mn-ea"/>
            <a:cs typeface="+mn-cs"/>
          </a:endParaRPr>
        </a:p>
      </dgm:t>
    </dgm:pt>
    <dgm:pt modelId="{B6FEBB24-D49C-4658-922E-61F2423AF2A8}" type="parTrans" cxnId="{A08CA2B0-F9A8-4153-9BDD-4F57BE5D357A}">
      <dgm:prSet/>
      <dgm:spPr/>
      <dgm:t>
        <a:bodyPr/>
        <a:lstStyle/>
        <a:p>
          <a:endParaRPr lang="en-US"/>
        </a:p>
      </dgm:t>
    </dgm:pt>
    <dgm:pt modelId="{A4F96478-7F44-48C6-B000-264AC1922443}" type="sibTrans" cxnId="{A08CA2B0-F9A8-4153-9BDD-4F57BE5D357A}">
      <dgm:prSet/>
      <dgm:spPr/>
      <dgm:t>
        <a:bodyPr/>
        <a:lstStyle/>
        <a:p>
          <a:endParaRPr lang="en-US"/>
        </a:p>
      </dgm:t>
    </dgm:pt>
    <dgm:pt modelId="{EA16073A-5C65-45A9-AFD7-D864F6139652}">
      <dgm:prSet custT="1"/>
      <dgm:spPr>
        <a:xfrm>
          <a:off x="0" y="94183"/>
          <a:ext cx="8128000" cy="642868"/>
        </a:xfrm>
      </dgm:spPr>
      <dgm:t>
        <a:bodyPr/>
        <a:lstStyle/>
        <a:p>
          <a:r>
            <a:rPr lang="en-US" sz="2400" b="0" dirty="0">
              <a:latin typeface="+mn-lt"/>
            </a:rPr>
            <a:t>CMEMTHREAD</a:t>
          </a:r>
          <a:endParaRPr lang="pt-PT" sz="2400" b="0" dirty="0">
            <a:latin typeface="+mn-lt"/>
            <a:ea typeface="+mn-ea"/>
            <a:cs typeface="+mn-cs"/>
          </a:endParaRPr>
        </a:p>
      </dgm:t>
    </dgm:pt>
    <dgm:pt modelId="{1DB5401C-0D54-440B-8478-0FBCB0C25B7B}" type="parTrans" cxnId="{3EC000C9-A3C7-48E1-997A-C1CBCC0FE955}">
      <dgm:prSet/>
      <dgm:spPr/>
      <dgm:t>
        <a:bodyPr/>
        <a:lstStyle/>
        <a:p>
          <a:endParaRPr lang="en-US"/>
        </a:p>
      </dgm:t>
    </dgm:pt>
    <dgm:pt modelId="{11DA5438-D9E4-4716-9FF3-6CDBB6EC59AF}" type="sibTrans" cxnId="{3EC000C9-A3C7-48E1-997A-C1CBCC0FE955}">
      <dgm:prSet/>
      <dgm:spPr/>
      <dgm:t>
        <a:bodyPr/>
        <a:lstStyle/>
        <a:p>
          <a:endParaRPr lang="en-US"/>
        </a:p>
      </dgm:t>
    </dgm:pt>
    <dgm:pt modelId="{1E781405-9CEB-48D0-A0E1-6639711BB8F2}">
      <dgm:prSet custT="1"/>
      <dgm:spPr>
        <a:xfrm>
          <a:off x="0" y="1300456"/>
          <a:ext cx="8128000" cy="987890"/>
        </a:xfrm>
      </dgm:spPr>
      <dgm:t>
        <a:bodyPr/>
        <a:lstStyle/>
        <a:p>
          <a:r>
            <a:rPr lang="en-US" sz="2400" b="0" dirty="0">
              <a:latin typeface="+mn-lt"/>
            </a:rPr>
            <a:t>RESOURCE_SEMAPHORE</a:t>
          </a:r>
          <a:endParaRPr lang="pt-PT" sz="2400" b="0" dirty="0">
            <a:latin typeface="+mn-lt"/>
          </a:endParaRPr>
        </a:p>
      </dgm:t>
    </dgm:pt>
    <dgm:pt modelId="{40ADA2CE-C36A-4A7D-BDF2-3DA6A2A875A1}" type="parTrans" cxnId="{185E9412-44C7-4495-BF4F-9649842D4B70}">
      <dgm:prSet/>
      <dgm:spPr/>
      <dgm:t>
        <a:bodyPr/>
        <a:lstStyle/>
        <a:p>
          <a:endParaRPr lang="en-US"/>
        </a:p>
      </dgm:t>
    </dgm:pt>
    <dgm:pt modelId="{753A0920-D6D7-4ABB-B717-102634D02484}" type="sibTrans" cxnId="{185E9412-44C7-4495-BF4F-9649842D4B70}">
      <dgm:prSet/>
      <dgm:spPr/>
      <dgm:t>
        <a:bodyPr/>
        <a:lstStyle/>
        <a:p>
          <a:endParaRPr lang="en-US"/>
        </a:p>
      </dgm:t>
    </dgm:pt>
    <dgm:pt modelId="{6381AAEA-EE71-4357-93B4-8C456491555F}">
      <dgm:prSet custT="1"/>
      <dgm:spPr>
        <a:xfrm>
          <a:off x="0" y="3353568"/>
          <a:ext cx="8128000" cy="617759"/>
        </a:xfrm>
      </dgm:spPr>
      <dgm:t>
        <a:bodyPr/>
        <a:lstStyle/>
        <a:p>
          <a:r>
            <a:rPr lang="en-US" sz="2400" b="0" dirty="0" err="1">
              <a:latin typeface="+mn-lt"/>
            </a:rPr>
            <a:t>LCK_xx</a:t>
          </a:r>
          <a:endParaRPr lang="pt-PT" sz="2400" b="0" dirty="0">
            <a:latin typeface="+mn-lt"/>
          </a:endParaRPr>
        </a:p>
      </dgm:t>
    </dgm:pt>
    <dgm:pt modelId="{CD375DE6-C372-4126-AC0C-1706C490C196}" type="parTrans" cxnId="{C3845487-E698-4C7F-9DE6-0869F62A6783}">
      <dgm:prSet/>
      <dgm:spPr/>
      <dgm:t>
        <a:bodyPr/>
        <a:lstStyle/>
        <a:p>
          <a:endParaRPr lang="en-US"/>
        </a:p>
      </dgm:t>
    </dgm:pt>
    <dgm:pt modelId="{ED5CAECC-A4EF-4278-9D26-40C2BE6FE303}" type="sibTrans" cxnId="{C3845487-E698-4C7F-9DE6-0869F62A6783}">
      <dgm:prSet/>
      <dgm:spPr/>
      <dgm:t>
        <a:bodyPr/>
        <a:lstStyle/>
        <a:p>
          <a:endParaRPr lang="en-US"/>
        </a:p>
      </dgm:t>
    </dgm:pt>
    <dgm:pt modelId="{A50A7BBB-943C-4134-89BF-DC8CA300F1AC}" type="pres">
      <dgm:prSet presAssocID="{5E0264A1-A044-402E-9DCD-DD6262316D90}" presName="linear" presStyleCnt="0">
        <dgm:presLayoutVars>
          <dgm:animLvl val="lvl"/>
          <dgm:resizeHandles val="exact"/>
        </dgm:presLayoutVars>
      </dgm:prSet>
      <dgm:spPr/>
    </dgm:pt>
    <dgm:pt modelId="{98CCB0F4-16B8-4109-B453-EAA6FB561D0C}" type="pres">
      <dgm:prSet presAssocID="{E6B7415F-41AE-46B5-BFC9-737584FE6827}" presName="parentText" presStyleLbl="node1" presStyleIdx="0" presStyleCnt="10">
        <dgm:presLayoutVars>
          <dgm:chMax val="0"/>
          <dgm:bulletEnabled val="1"/>
        </dgm:presLayoutVars>
      </dgm:prSet>
      <dgm:spPr/>
    </dgm:pt>
    <dgm:pt modelId="{13B69DF8-98B7-4AE5-AADC-79B840BF59B6}" type="pres">
      <dgm:prSet presAssocID="{CBC93627-14E5-4044-BF23-DB682E2806F4}" presName="spacer" presStyleCnt="0"/>
      <dgm:spPr/>
    </dgm:pt>
    <dgm:pt modelId="{B913BE4D-0B03-49FB-931A-2C517AC6E61D}" type="pres">
      <dgm:prSet presAssocID="{1A5CF1FD-8847-4810-B583-D8E5707E3BC7}" presName="parentText" presStyleLbl="node1" presStyleIdx="1" presStyleCnt="10">
        <dgm:presLayoutVars>
          <dgm:chMax val="0"/>
          <dgm:bulletEnabled val="1"/>
        </dgm:presLayoutVars>
      </dgm:prSet>
      <dgm:spPr/>
    </dgm:pt>
    <dgm:pt modelId="{1AA6DCD9-9F78-4E91-8291-FB3EBA962FBD}" type="pres">
      <dgm:prSet presAssocID="{BCC8C011-E09F-482C-B551-40069F2E515B}" presName="spacer" presStyleCnt="0"/>
      <dgm:spPr/>
    </dgm:pt>
    <dgm:pt modelId="{42E8A96A-5F44-4E5C-9E61-C171C4677618}" type="pres">
      <dgm:prSet presAssocID="{CA82A5DA-8153-493A-ADD5-316A0D209425}" presName="parentText" presStyleLbl="node1" presStyleIdx="2" presStyleCnt="10">
        <dgm:presLayoutVars>
          <dgm:chMax val="0"/>
          <dgm:bulletEnabled val="1"/>
        </dgm:presLayoutVars>
      </dgm:prSet>
      <dgm:spPr/>
    </dgm:pt>
    <dgm:pt modelId="{9F8F1601-6D65-48F4-8DDB-39B5F0F7198D}" type="pres">
      <dgm:prSet presAssocID="{69097AFF-5DA1-4560-8BC2-EC51D1B05649}" presName="spacer" presStyleCnt="0"/>
      <dgm:spPr/>
    </dgm:pt>
    <dgm:pt modelId="{2933DB2A-6E28-4EAA-9960-C0F44FE26D74}" type="pres">
      <dgm:prSet presAssocID="{DE9FACA9-3477-4D7F-8344-16438910813A}" presName="parentText" presStyleLbl="node1" presStyleIdx="3" presStyleCnt="10">
        <dgm:presLayoutVars>
          <dgm:chMax val="0"/>
          <dgm:bulletEnabled val="1"/>
        </dgm:presLayoutVars>
      </dgm:prSet>
      <dgm:spPr/>
    </dgm:pt>
    <dgm:pt modelId="{6F42ADCF-0377-485F-A2EC-BDE3AF82CE26}" type="pres">
      <dgm:prSet presAssocID="{9BC8B941-8064-455F-AE72-798B43F88618}" presName="spacer" presStyleCnt="0"/>
      <dgm:spPr/>
    </dgm:pt>
    <dgm:pt modelId="{915A74EA-AB62-413C-A97E-0F85A040369C}" type="pres">
      <dgm:prSet presAssocID="{CF34187F-23A6-4692-9405-72EC79E149CA}" presName="parentText" presStyleLbl="node1" presStyleIdx="4" presStyleCnt="10" custLinFactNeighborX="-5996" custLinFactNeighborY="-78">
        <dgm:presLayoutVars>
          <dgm:chMax val="0"/>
          <dgm:bulletEnabled val="1"/>
        </dgm:presLayoutVars>
      </dgm:prSet>
      <dgm:spPr>
        <a:prstGeom prst="roundRect">
          <a:avLst/>
        </a:prstGeom>
      </dgm:spPr>
    </dgm:pt>
    <dgm:pt modelId="{98BFF3A5-87B6-4294-8504-CF0106AEF260}" type="pres">
      <dgm:prSet presAssocID="{A0D3C0C8-61BA-48D4-9619-C14460E98BFD}" presName="spacer" presStyleCnt="0"/>
      <dgm:spPr/>
    </dgm:pt>
    <dgm:pt modelId="{05164646-EC11-4CCB-8915-FF108925A8B2}" type="pres">
      <dgm:prSet presAssocID="{25D04CA3-75D5-475E-8B18-401E62DFEB28}" presName="parentText" presStyleLbl="node1" presStyleIdx="5" presStyleCnt="10">
        <dgm:presLayoutVars>
          <dgm:chMax val="0"/>
          <dgm:bulletEnabled val="1"/>
        </dgm:presLayoutVars>
      </dgm:prSet>
      <dgm:spPr>
        <a:prstGeom prst="roundRect">
          <a:avLst/>
        </a:prstGeom>
      </dgm:spPr>
    </dgm:pt>
    <dgm:pt modelId="{57D02A5A-E1AA-4AA5-BC2E-8E8459A9043A}" type="pres">
      <dgm:prSet presAssocID="{5DD2722A-FDDA-4B80-AFEA-F48826FC4EE0}" presName="spacer" presStyleCnt="0"/>
      <dgm:spPr/>
    </dgm:pt>
    <dgm:pt modelId="{9D78FD09-2F68-41D1-BC87-4A37D7C663D0}" type="pres">
      <dgm:prSet presAssocID="{EB8DF0C2-FDA6-4E0A-8F6F-BAE6093389FA}" presName="parentText" presStyleLbl="node1" presStyleIdx="6" presStyleCnt="10">
        <dgm:presLayoutVars>
          <dgm:chMax val="0"/>
          <dgm:bulletEnabled val="1"/>
        </dgm:presLayoutVars>
      </dgm:prSet>
      <dgm:spPr>
        <a:prstGeom prst="roundRect">
          <a:avLst/>
        </a:prstGeom>
      </dgm:spPr>
    </dgm:pt>
    <dgm:pt modelId="{AEBDE93F-DEFA-4294-82CD-C3B28C275F63}" type="pres">
      <dgm:prSet presAssocID="{A4F96478-7F44-48C6-B000-264AC1922443}" presName="spacer" presStyleCnt="0"/>
      <dgm:spPr/>
    </dgm:pt>
    <dgm:pt modelId="{5B399605-E137-4CAB-8B2D-C244D2E02AD4}" type="pres">
      <dgm:prSet presAssocID="{EA16073A-5C65-45A9-AFD7-D864F6139652}" presName="parentText" presStyleLbl="node1" presStyleIdx="7" presStyleCnt="10">
        <dgm:presLayoutVars>
          <dgm:chMax val="0"/>
          <dgm:bulletEnabled val="1"/>
        </dgm:presLayoutVars>
      </dgm:prSet>
      <dgm:spPr>
        <a:prstGeom prst="roundRect">
          <a:avLst/>
        </a:prstGeom>
      </dgm:spPr>
    </dgm:pt>
    <dgm:pt modelId="{F48E32B8-A506-4F29-A3D8-20DE543195B8}" type="pres">
      <dgm:prSet presAssocID="{11DA5438-D9E4-4716-9FF3-6CDBB6EC59AF}" presName="spacer" presStyleCnt="0"/>
      <dgm:spPr/>
    </dgm:pt>
    <dgm:pt modelId="{5C33FF58-F146-4E39-9318-3909E092C4DA}" type="pres">
      <dgm:prSet presAssocID="{1E781405-9CEB-48D0-A0E1-6639711BB8F2}" presName="parentText" presStyleLbl="node1" presStyleIdx="8" presStyleCnt="10">
        <dgm:presLayoutVars>
          <dgm:chMax val="0"/>
          <dgm:bulletEnabled val="1"/>
        </dgm:presLayoutVars>
      </dgm:prSet>
      <dgm:spPr>
        <a:prstGeom prst="roundRect">
          <a:avLst/>
        </a:prstGeom>
      </dgm:spPr>
    </dgm:pt>
    <dgm:pt modelId="{7BE0DB89-26FC-47CA-A096-45B664304013}" type="pres">
      <dgm:prSet presAssocID="{753A0920-D6D7-4ABB-B717-102634D02484}" presName="spacer" presStyleCnt="0"/>
      <dgm:spPr/>
    </dgm:pt>
    <dgm:pt modelId="{1D4F549C-C019-4C4F-B6EC-CAAF4B6BB501}" type="pres">
      <dgm:prSet presAssocID="{6381AAEA-EE71-4357-93B4-8C456491555F}" presName="parentText" presStyleLbl="node1" presStyleIdx="9" presStyleCnt="10">
        <dgm:presLayoutVars>
          <dgm:chMax val="0"/>
          <dgm:bulletEnabled val="1"/>
        </dgm:presLayoutVars>
      </dgm:prSet>
      <dgm:spPr>
        <a:prstGeom prst="roundRect">
          <a:avLst/>
        </a:prstGeom>
      </dgm:spPr>
    </dgm:pt>
  </dgm:ptLst>
  <dgm:cxnLst>
    <dgm:cxn modelId="{51AB0200-94A7-4F3B-994A-23341A276E14}" type="presOf" srcId="{1E781405-9CEB-48D0-A0E1-6639711BB8F2}" destId="{5C33FF58-F146-4E39-9318-3909E092C4DA}" srcOrd="0" destOrd="0" presId="urn:microsoft.com/office/officeart/2005/8/layout/vList2"/>
    <dgm:cxn modelId="{26DFCF04-D771-43B9-8AED-33F395EDA507}" type="presOf" srcId="{EA16073A-5C65-45A9-AFD7-D864F6139652}" destId="{5B399605-E137-4CAB-8B2D-C244D2E02AD4}" srcOrd="0" destOrd="0" presId="urn:microsoft.com/office/officeart/2005/8/layout/vList2"/>
    <dgm:cxn modelId="{9B86C307-97E7-4EC0-B6C1-416AA2BE590A}" srcId="{5E0264A1-A044-402E-9DCD-DD6262316D90}" destId="{CF34187F-23A6-4692-9405-72EC79E149CA}" srcOrd="4" destOrd="0" parTransId="{B925EC27-DD6A-4FED-ADDE-108D4217EA4E}" sibTransId="{A0D3C0C8-61BA-48D4-9619-C14460E98BFD}"/>
    <dgm:cxn modelId="{185E9412-44C7-4495-BF4F-9649842D4B70}" srcId="{5E0264A1-A044-402E-9DCD-DD6262316D90}" destId="{1E781405-9CEB-48D0-A0E1-6639711BB8F2}" srcOrd="8" destOrd="0" parTransId="{40ADA2CE-C36A-4A7D-BDF2-3DA6A2A875A1}" sibTransId="{753A0920-D6D7-4ABB-B717-102634D02484}"/>
    <dgm:cxn modelId="{C1F2122E-580A-4C86-8C38-3A17127A8F39}" srcId="{5E0264A1-A044-402E-9DCD-DD6262316D90}" destId="{DE9FACA9-3477-4D7F-8344-16438910813A}" srcOrd="3" destOrd="0" parTransId="{CE92FCA4-CDD7-445A-AC59-76B4D3B51A1C}" sibTransId="{9BC8B941-8064-455F-AE72-798B43F88618}"/>
    <dgm:cxn modelId="{CFE6D739-6F9C-415C-A961-E2E7DA97DC04}" type="presOf" srcId="{1A5CF1FD-8847-4810-B583-D8E5707E3BC7}" destId="{B913BE4D-0B03-49FB-931A-2C517AC6E61D}" srcOrd="0" destOrd="0" presId="urn:microsoft.com/office/officeart/2005/8/layout/vList2"/>
    <dgm:cxn modelId="{2C71E25C-4BB5-4643-9AA3-3A554E1CEB72}" type="presOf" srcId="{CA82A5DA-8153-493A-ADD5-316A0D209425}" destId="{42E8A96A-5F44-4E5C-9E61-C171C4677618}" srcOrd="0" destOrd="0" presId="urn:microsoft.com/office/officeart/2005/8/layout/vList2"/>
    <dgm:cxn modelId="{112E1F43-ECE8-47D8-9E5B-B83BBEAFFA06}" type="presOf" srcId="{DE9FACA9-3477-4D7F-8344-16438910813A}" destId="{2933DB2A-6E28-4EAA-9960-C0F44FE26D74}" srcOrd="0" destOrd="0" presId="urn:microsoft.com/office/officeart/2005/8/layout/vList2"/>
    <dgm:cxn modelId="{E34BB079-0A2E-4D3C-8654-3CCCF90CF278}" srcId="{5E0264A1-A044-402E-9DCD-DD6262316D90}" destId="{1A5CF1FD-8847-4810-B583-D8E5707E3BC7}" srcOrd="1" destOrd="0" parTransId="{B8CCD8A2-242E-416D-B659-6CD4AFD54226}" sibTransId="{BCC8C011-E09F-482C-B551-40069F2E515B}"/>
    <dgm:cxn modelId="{FD6BD07C-B3CA-4B75-B7FE-68F20AB94CA2}" srcId="{5E0264A1-A044-402E-9DCD-DD6262316D90}" destId="{CA82A5DA-8153-493A-ADD5-316A0D209425}" srcOrd="2" destOrd="0" parTransId="{E6E0BDD1-D39D-4378-A522-73B6955985FE}" sibTransId="{69097AFF-5DA1-4560-8BC2-EC51D1B05649}"/>
    <dgm:cxn modelId="{35AF6A83-1993-4C54-8FBC-027BB5778061}" type="presOf" srcId="{6381AAEA-EE71-4357-93B4-8C456491555F}" destId="{1D4F549C-C019-4C4F-B6EC-CAAF4B6BB501}" srcOrd="0" destOrd="0" presId="urn:microsoft.com/office/officeart/2005/8/layout/vList2"/>
    <dgm:cxn modelId="{C3845487-E698-4C7F-9DE6-0869F62A6783}" srcId="{5E0264A1-A044-402E-9DCD-DD6262316D90}" destId="{6381AAEA-EE71-4357-93B4-8C456491555F}" srcOrd="9" destOrd="0" parTransId="{CD375DE6-C372-4126-AC0C-1706C490C196}" sibTransId="{ED5CAECC-A4EF-4278-9D26-40C2BE6FE303}"/>
    <dgm:cxn modelId="{37A37987-301B-4054-8F95-0629BC3919B6}" srcId="{5E0264A1-A044-402E-9DCD-DD6262316D90}" destId="{E6B7415F-41AE-46B5-BFC9-737584FE6827}" srcOrd="0" destOrd="0" parTransId="{BB62288F-4332-4E32-B40F-37241D3BC35D}" sibTransId="{CBC93627-14E5-4044-BF23-DB682E2806F4}"/>
    <dgm:cxn modelId="{C5CEEA89-BFB9-4633-BC18-58CB18BDA24F}" type="presOf" srcId="{E6B7415F-41AE-46B5-BFC9-737584FE6827}" destId="{98CCB0F4-16B8-4109-B453-EAA6FB561D0C}" srcOrd="0" destOrd="0" presId="urn:microsoft.com/office/officeart/2005/8/layout/vList2"/>
    <dgm:cxn modelId="{44ABD58A-42AE-4296-B094-29F86500D3A8}" type="presOf" srcId="{5E0264A1-A044-402E-9DCD-DD6262316D90}" destId="{A50A7BBB-943C-4134-89BF-DC8CA300F1AC}" srcOrd="0" destOrd="0" presId="urn:microsoft.com/office/officeart/2005/8/layout/vList2"/>
    <dgm:cxn modelId="{A6CB2394-C1DC-4D5C-94CA-5C9F8F764670}" type="presOf" srcId="{CF34187F-23A6-4692-9405-72EC79E149CA}" destId="{915A74EA-AB62-413C-A97E-0F85A040369C}" srcOrd="0" destOrd="0" presId="urn:microsoft.com/office/officeart/2005/8/layout/vList2"/>
    <dgm:cxn modelId="{A08CA2B0-F9A8-4153-9BDD-4F57BE5D357A}" srcId="{5E0264A1-A044-402E-9DCD-DD6262316D90}" destId="{EB8DF0C2-FDA6-4E0A-8F6F-BAE6093389FA}" srcOrd="6" destOrd="0" parTransId="{B6FEBB24-D49C-4658-922E-61F2423AF2A8}" sibTransId="{A4F96478-7F44-48C6-B000-264AC1922443}"/>
    <dgm:cxn modelId="{ACA583C2-B44D-444A-A50D-5DBF0174E961}" srcId="{5E0264A1-A044-402E-9DCD-DD6262316D90}" destId="{25D04CA3-75D5-475E-8B18-401E62DFEB28}" srcOrd="5" destOrd="0" parTransId="{0347E506-39FD-4FD9-A6C6-27C33D1A5321}" sibTransId="{5DD2722A-FDDA-4B80-AFEA-F48826FC4EE0}"/>
    <dgm:cxn modelId="{9FE785C8-263F-45AD-868E-1A7A1D9A5208}" type="presOf" srcId="{EB8DF0C2-FDA6-4E0A-8F6F-BAE6093389FA}" destId="{9D78FD09-2F68-41D1-BC87-4A37D7C663D0}" srcOrd="0" destOrd="0" presId="urn:microsoft.com/office/officeart/2005/8/layout/vList2"/>
    <dgm:cxn modelId="{3EC000C9-A3C7-48E1-997A-C1CBCC0FE955}" srcId="{5E0264A1-A044-402E-9DCD-DD6262316D90}" destId="{EA16073A-5C65-45A9-AFD7-D864F6139652}" srcOrd="7" destOrd="0" parTransId="{1DB5401C-0D54-440B-8478-0FBCB0C25B7B}" sibTransId="{11DA5438-D9E4-4716-9FF3-6CDBB6EC59AF}"/>
    <dgm:cxn modelId="{569100EE-E96B-44CD-9349-6AEB339C7203}" type="presOf" srcId="{25D04CA3-75D5-475E-8B18-401E62DFEB28}" destId="{05164646-EC11-4CCB-8915-FF108925A8B2}" srcOrd="0" destOrd="0" presId="urn:microsoft.com/office/officeart/2005/8/layout/vList2"/>
    <dgm:cxn modelId="{C21E15BB-1C35-4CB7-B066-34E6CFAD6C54}" type="presParOf" srcId="{A50A7BBB-943C-4134-89BF-DC8CA300F1AC}" destId="{98CCB0F4-16B8-4109-B453-EAA6FB561D0C}" srcOrd="0" destOrd="0" presId="urn:microsoft.com/office/officeart/2005/8/layout/vList2"/>
    <dgm:cxn modelId="{9C30063F-D554-4BF0-8D45-2B4E291988C3}" type="presParOf" srcId="{A50A7BBB-943C-4134-89BF-DC8CA300F1AC}" destId="{13B69DF8-98B7-4AE5-AADC-79B840BF59B6}" srcOrd="1" destOrd="0" presId="urn:microsoft.com/office/officeart/2005/8/layout/vList2"/>
    <dgm:cxn modelId="{8F16D133-F0A9-4170-A5F8-2345D0468B12}" type="presParOf" srcId="{A50A7BBB-943C-4134-89BF-DC8CA300F1AC}" destId="{B913BE4D-0B03-49FB-931A-2C517AC6E61D}" srcOrd="2" destOrd="0" presId="urn:microsoft.com/office/officeart/2005/8/layout/vList2"/>
    <dgm:cxn modelId="{79D4EFFE-268D-4FB1-AE0B-EAE1DA16520D}" type="presParOf" srcId="{A50A7BBB-943C-4134-89BF-DC8CA300F1AC}" destId="{1AA6DCD9-9F78-4E91-8291-FB3EBA962FBD}" srcOrd="3" destOrd="0" presId="urn:microsoft.com/office/officeart/2005/8/layout/vList2"/>
    <dgm:cxn modelId="{E57E147F-1266-46C7-9586-909C8C2A883C}" type="presParOf" srcId="{A50A7BBB-943C-4134-89BF-DC8CA300F1AC}" destId="{42E8A96A-5F44-4E5C-9E61-C171C4677618}" srcOrd="4" destOrd="0" presId="urn:microsoft.com/office/officeart/2005/8/layout/vList2"/>
    <dgm:cxn modelId="{3E3934C0-916D-4E6B-8404-4ECDC38BDA15}" type="presParOf" srcId="{A50A7BBB-943C-4134-89BF-DC8CA300F1AC}" destId="{9F8F1601-6D65-48F4-8DDB-39B5F0F7198D}" srcOrd="5" destOrd="0" presId="urn:microsoft.com/office/officeart/2005/8/layout/vList2"/>
    <dgm:cxn modelId="{A60097E7-107E-453A-ABD9-A8329D403CC6}" type="presParOf" srcId="{A50A7BBB-943C-4134-89BF-DC8CA300F1AC}" destId="{2933DB2A-6E28-4EAA-9960-C0F44FE26D74}" srcOrd="6" destOrd="0" presId="urn:microsoft.com/office/officeart/2005/8/layout/vList2"/>
    <dgm:cxn modelId="{B1696ED3-F12B-42C2-A528-DC6428681ED3}" type="presParOf" srcId="{A50A7BBB-943C-4134-89BF-DC8CA300F1AC}" destId="{6F42ADCF-0377-485F-A2EC-BDE3AF82CE26}" srcOrd="7" destOrd="0" presId="urn:microsoft.com/office/officeart/2005/8/layout/vList2"/>
    <dgm:cxn modelId="{90F61F86-82DF-4A9D-B4C5-59394792EB65}" type="presParOf" srcId="{A50A7BBB-943C-4134-89BF-DC8CA300F1AC}" destId="{915A74EA-AB62-413C-A97E-0F85A040369C}" srcOrd="8" destOrd="0" presId="urn:microsoft.com/office/officeart/2005/8/layout/vList2"/>
    <dgm:cxn modelId="{04FC43D8-B249-4757-AE27-87B1A88423C5}" type="presParOf" srcId="{A50A7BBB-943C-4134-89BF-DC8CA300F1AC}" destId="{98BFF3A5-87B6-4294-8504-CF0106AEF260}" srcOrd="9" destOrd="0" presId="urn:microsoft.com/office/officeart/2005/8/layout/vList2"/>
    <dgm:cxn modelId="{19DCD145-DD59-436E-AB37-2C2C4634C8B9}" type="presParOf" srcId="{A50A7BBB-943C-4134-89BF-DC8CA300F1AC}" destId="{05164646-EC11-4CCB-8915-FF108925A8B2}" srcOrd="10" destOrd="0" presId="urn:microsoft.com/office/officeart/2005/8/layout/vList2"/>
    <dgm:cxn modelId="{71972251-54FE-444E-B90C-318507D37242}" type="presParOf" srcId="{A50A7BBB-943C-4134-89BF-DC8CA300F1AC}" destId="{57D02A5A-E1AA-4AA5-BC2E-8E8459A9043A}" srcOrd="11" destOrd="0" presId="urn:microsoft.com/office/officeart/2005/8/layout/vList2"/>
    <dgm:cxn modelId="{50FA73B7-083E-48EC-B950-84CB1BBF3915}" type="presParOf" srcId="{A50A7BBB-943C-4134-89BF-DC8CA300F1AC}" destId="{9D78FD09-2F68-41D1-BC87-4A37D7C663D0}" srcOrd="12" destOrd="0" presId="urn:microsoft.com/office/officeart/2005/8/layout/vList2"/>
    <dgm:cxn modelId="{0B7671C4-2176-48D6-A896-E419FB049A9A}" type="presParOf" srcId="{A50A7BBB-943C-4134-89BF-DC8CA300F1AC}" destId="{AEBDE93F-DEFA-4294-82CD-C3B28C275F63}" srcOrd="13" destOrd="0" presId="urn:microsoft.com/office/officeart/2005/8/layout/vList2"/>
    <dgm:cxn modelId="{F9836F99-3CC6-4FA7-A9F2-17877A4E51E6}" type="presParOf" srcId="{A50A7BBB-943C-4134-89BF-DC8CA300F1AC}" destId="{5B399605-E137-4CAB-8B2D-C244D2E02AD4}" srcOrd="14" destOrd="0" presId="urn:microsoft.com/office/officeart/2005/8/layout/vList2"/>
    <dgm:cxn modelId="{3EBC1EF8-6794-48BB-9D35-6CD280769D6A}" type="presParOf" srcId="{A50A7BBB-943C-4134-89BF-DC8CA300F1AC}" destId="{F48E32B8-A506-4F29-A3D8-20DE543195B8}" srcOrd="15" destOrd="0" presId="urn:microsoft.com/office/officeart/2005/8/layout/vList2"/>
    <dgm:cxn modelId="{2F2BF7A0-A633-43F2-9EB7-DD194FEFE5DF}" type="presParOf" srcId="{A50A7BBB-943C-4134-89BF-DC8CA300F1AC}" destId="{5C33FF58-F146-4E39-9318-3909E092C4DA}" srcOrd="16" destOrd="0" presId="urn:microsoft.com/office/officeart/2005/8/layout/vList2"/>
    <dgm:cxn modelId="{BDF04BCA-B65C-4237-BC11-26F8BB4DB6DC}" type="presParOf" srcId="{A50A7BBB-943C-4134-89BF-DC8CA300F1AC}" destId="{7BE0DB89-26FC-47CA-A096-45B664304013}" srcOrd="17" destOrd="0" presId="urn:microsoft.com/office/officeart/2005/8/layout/vList2"/>
    <dgm:cxn modelId="{AFAAC331-AEE9-4D3A-9B33-B4AF6A66DBB9}" type="presParOf" srcId="{A50A7BBB-943C-4134-89BF-DC8CA300F1AC}" destId="{1D4F549C-C019-4C4F-B6EC-CAAF4B6BB501}" srcOrd="1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BF0DCD-E488-4C77-B299-EA375E7B1659}"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456D1D49-6979-4A1B-B069-CC14616C89C5}">
      <dgm:prSet phldrT="[Text]"/>
      <dgm:spPr/>
      <dgm:t>
        <a:bodyPr/>
        <a:lstStyle/>
        <a:p>
          <a:r>
            <a:rPr lang="en-US" dirty="0"/>
            <a:t>Management</a:t>
          </a:r>
        </a:p>
      </dgm:t>
    </dgm:pt>
    <dgm:pt modelId="{4726CEC5-2192-4EB0-869C-847C34107D6B}" type="parTrans" cxnId="{1B6B91BD-FF66-42EB-AE69-7BAEADEFA8DC}">
      <dgm:prSet/>
      <dgm:spPr/>
      <dgm:t>
        <a:bodyPr/>
        <a:lstStyle/>
        <a:p>
          <a:endParaRPr lang="en-US"/>
        </a:p>
      </dgm:t>
    </dgm:pt>
    <dgm:pt modelId="{D5DA2F46-75CA-48BE-B4FE-668DDF4397FC}" type="sibTrans" cxnId="{1B6B91BD-FF66-42EB-AE69-7BAEADEFA8DC}">
      <dgm:prSet/>
      <dgm:spPr/>
      <dgm:t>
        <a:bodyPr/>
        <a:lstStyle/>
        <a:p>
          <a:endParaRPr lang="en-US"/>
        </a:p>
      </dgm:t>
    </dgm:pt>
    <dgm:pt modelId="{1CC54FFA-7C20-4DA1-AA81-7DE6D85DE4BF}">
      <dgm:prSet phldrT="[Text]"/>
      <dgm:spPr/>
      <dgm:t>
        <a:bodyPr/>
        <a:lstStyle/>
        <a:p>
          <a:r>
            <a:rPr lang="en-US" dirty="0">
              <a:latin typeface="+mj-lt"/>
            </a:rPr>
            <a:t>Memory Manager</a:t>
          </a:r>
          <a:endParaRPr lang="en-US" dirty="0"/>
        </a:p>
      </dgm:t>
    </dgm:pt>
    <dgm:pt modelId="{5DD522A8-0DF6-4FA6-B3CD-DCBA093E2F82}" type="parTrans" cxnId="{A3EFB94C-B9CF-4724-8C74-039911C6E99C}">
      <dgm:prSet/>
      <dgm:spPr/>
      <dgm:t>
        <a:bodyPr/>
        <a:lstStyle/>
        <a:p>
          <a:endParaRPr lang="en-US"/>
        </a:p>
      </dgm:t>
    </dgm:pt>
    <dgm:pt modelId="{304C4A10-5309-4000-85E8-A91EF32E0570}" type="sibTrans" cxnId="{A3EFB94C-B9CF-4724-8C74-039911C6E99C}">
      <dgm:prSet/>
      <dgm:spPr/>
      <dgm:t>
        <a:bodyPr/>
        <a:lstStyle/>
        <a:p>
          <a:endParaRPr lang="en-US"/>
        </a:p>
      </dgm:t>
    </dgm:pt>
    <dgm:pt modelId="{84C6D042-49EA-45BF-BF34-4520D2F4952C}">
      <dgm:prSet phldrT="[Text]"/>
      <dgm:spPr/>
      <dgm:t>
        <a:bodyPr/>
        <a:lstStyle/>
        <a:p>
          <a:r>
            <a:rPr lang="en-US" dirty="0"/>
            <a:t>Monitoring</a:t>
          </a:r>
        </a:p>
      </dgm:t>
    </dgm:pt>
    <dgm:pt modelId="{035B6CC2-D8FE-40C1-8735-6CFE06391818}" type="parTrans" cxnId="{3B47A219-3AC2-4F75-9546-BF9FB05A62B3}">
      <dgm:prSet/>
      <dgm:spPr/>
      <dgm:t>
        <a:bodyPr/>
        <a:lstStyle/>
        <a:p>
          <a:endParaRPr lang="en-US"/>
        </a:p>
      </dgm:t>
    </dgm:pt>
    <dgm:pt modelId="{4541ADEB-CFBF-4468-A2F9-141754A6501A}" type="sibTrans" cxnId="{3B47A219-3AC2-4F75-9546-BF9FB05A62B3}">
      <dgm:prSet/>
      <dgm:spPr/>
      <dgm:t>
        <a:bodyPr/>
        <a:lstStyle/>
        <a:p>
          <a:endParaRPr lang="en-US"/>
        </a:p>
      </dgm:t>
    </dgm:pt>
    <dgm:pt modelId="{77654ABF-E368-4AAC-AE34-686D9E2BDB5E}">
      <dgm:prSet phldrT="[Text]"/>
      <dgm:spPr/>
      <dgm:t>
        <a:bodyPr/>
        <a:lstStyle/>
        <a:p>
          <a:r>
            <a:rPr lang="en-US" dirty="0">
              <a:latin typeface="+mj-lt"/>
            </a:rPr>
            <a:t>Resource Monitor</a:t>
          </a:r>
          <a:endParaRPr lang="en-US" dirty="0"/>
        </a:p>
      </dgm:t>
    </dgm:pt>
    <dgm:pt modelId="{17DD1F40-E0E8-40AA-8817-9C6BB96D4C1F}" type="parTrans" cxnId="{E96BFE18-0AEC-4838-8187-B4B41FA26CF5}">
      <dgm:prSet/>
      <dgm:spPr/>
      <dgm:t>
        <a:bodyPr/>
        <a:lstStyle/>
        <a:p>
          <a:endParaRPr lang="en-US"/>
        </a:p>
      </dgm:t>
    </dgm:pt>
    <dgm:pt modelId="{C46BCBCF-89BE-4E9E-8597-174E358AEE34}" type="sibTrans" cxnId="{E96BFE18-0AEC-4838-8187-B4B41FA26CF5}">
      <dgm:prSet/>
      <dgm:spPr/>
      <dgm:t>
        <a:bodyPr/>
        <a:lstStyle/>
        <a:p>
          <a:endParaRPr lang="en-US"/>
        </a:p>
      </dgm:t>
    </dgm:pt>
    <dgm:pt modelId="{416A51FF-50BA-4769-A9B3-8FC6714DC899}">
      <dgm:prSet/>
      <dgm:spPr/>
      <dgm:t>
        <a:bodyPr/>
        <a:lstStyle/>
        <a:p>
          <a:r>
            <a:rPr lang="en-US" dirty="0">
              <a:latin typeface="+mj-lt"/>
            </a:rPr>
            <a:t>Process Scheduler</a:t>
          </a:r>
        </a:p>
      </dgm:t>
    </dgm:pt>
    <dgm:pt modelId="{D1BF2092-A472-43ED-A548-CDE201F5C24F}" type="parTrans" cxnId="{7F204644-4576-46AF-9FCF-DD09ACD388F9}">
      <dgm:prSet/>
      <dgm:spPr/>
      <dgm:t>
        <a:bodyPr/>
        <a:lstStyle/>
        <a:p>
          <a:endParaRPr lang="en-US"/>
        </a:p>
      </dgm:t>
    </dgm:pt>
    <dgm:pt modelId="{998B3A49-3DD8-4950-9319-00281840E684}" type="sibTrans" cxnId="{7F204644-4576-46AF-9FCF-DD09ACD388F9}">
      <dgm:prSet/>
      <dgm:spPr/>
      <dgm:t>
        <a:bodyPr/>
        <a:lstStyle/>
        <a:p>
          <a:endParaRPr lang="en-US"/>
        </a:p>
      </dgm:t>
    </dgm:pt>
    <dgm:pt modelId="{9F8A8E49-522D-4085-9A5C-6E559173B8DA}">
      <dgm:prSet/>
      <dgm:spPr/>
      <dgm:t>
        <a:bodyPr/>
        <a:lstStyle/>
        <a:p>
          <a:r>
            <a:rPr lang="en-US" dirty="0">
              <a:latin typeface="+mj-lt"/>
            </a:rPr>
            <a:t>Synchronization</a:t>
          </a:r>
        </a:p>
      </dgm:t>
    </dgm:pt>
    <dgm:pt modelId="{4D397B02-DB34-40B8-8657-4F8635D24769}" type="parTrans" cxnId="{C5D7C64B-2638-4CEE-B662-C96D87D4F008}">
      <dgm:prSet/>
      <dgm:spPr/>
      <dgm:t>
        <a:bodyPr/>
        <a:lstStyle/>
        <a:p>
          <a:endParaRPr lang="en-US"/>
        </a:p>
      </dgm:t>
    </dgm:pt>
    <dgm:pt modelId="{BC72DF80-36C6-4071-B0FD-112090AEE4FD}" type="sibTrans" cxnId="{C5D7C64B-2638-4CEE-B662-C96D87D4F008}">
      <dgm:prSet/>
      <dgm:spPr/>
      <dgm:t>
        <a:bodyPr/>
        <a:lstStyle/>
        <a:p>
          <a:endParaRPr lang="en-US"/>
        </a:p>
      </dgm:t>
    </dgm:pt>
    <dgm:pt modelId="{861CFCB4-98B4-45B6-BAE2-B880CC9E5655}">
      <dgm:prSet/>
      <dgm:spPr/>
      <dgm:t>
        <a:bodyPr/>
        <a:lstStyle/>
        <a:p>
          <a:r>
            <a:rPr lang="en-US" dirty="0">
              <a:latin typeface="+mj-lt"/>
            </a:rPr>
            <a:t>I/O</a:t>
          </a:r>
        </a:p>
      </dgm:t>
    </dgm:pt>
    <dgm:pt modelId="{0A5A0CCD-DFDA-4959-A69B-2BC358AFA8F6}" type="parTrans" cxnId="{42F34CAE-D158-4E2F-845D-822CF882EC92}">
      <dgm:prSet/>
      <dgm:spPr/>
      <dgm:t>
        <a:bodyPr/>
        <a:lstStyle/>
        <a:p>
          <a:endParaRPr lang="en-US"/>
        </a:p>
      </dgm:t>
    </dgm:pt>
    <dgm:pt modelId="{CF3E7107-0043-4018-A7A5-9BCBA3A42497}" type="sibTrans" cxnId="{42F34CAE-D158-4E2F-845D-822CF882EC92}">
      <dgm:prSet/>
      <dgm:spPr/>
      <dgm:t>
        <a:bodyPr/>
        <a:lstStyle/>
        <a:p>
          <a:endParaRPr lang="en-US"/>
        </a:p>
      </dgm:t>
    </dgm:pt>
    <dgm:pt modelId="{9893C4C8-7CDC-42E7-A899-41E5F12D4289}">
      <dgm:prSet/>
      <dgm:spPr/>
      <dgm:t>
        <a:bodyPr/>
        <a:lstStyle/>
        <a:p>
          <a:r>
            <a:rPr lang="en-US" dirty="0">
              <a:latin typeface="+mj-lt"/>
            </a:rPr>
            <a:t>Support for Non-Uniform Memory Access (NUMA) and Resource Governor</a:t>
          </a:r>
        </a:p>
      </dgm:t>
    </dgm:pt>
    <dgm:pt modelId="{2BC13D61-CCF8-463B-90D9-FDA575E960EA}" type="parTrans" cxnId="{5E3A2717-292E-4D83-AB7F-BAD589B79C7E}">
      <dgm:prSet/>
      <dgm:spPr/>
      <dgm:t>
        <a:bodyPr/>
        <a:lstStyle/>
        <a:p>
          <a:endParaRPr lang="en-US"/>
        </a:p>
      </dgm:t>
    </dgm:pt>
    <dgm:pt modelId="{A68CB042-C9E4-46AE-BA93-138E05ADC218}" type="sibTrans" cxnId="{5E3A2717-292E-4D83-AB7F-BAD589B79C7E}">
      <dgm:prSet/>
      <dgm:spPr/>
      <dgm:t>
        <a:bodyPr/>
        <a:lstStyle/>
        <a:p>
          <a:endParaRPr lang="en-US"/>
        </a:p>
      </dgm:t>
    </dgm:pt>
    <dgm:pt modelId="{E2751BB0-CE0C-4DC9-9092-C1DB48F21F5F}">
      <dgm:prSet/>
      <dgm:spPr/>
      <dgm:t>
        <a:bodyPr/>
        <a:lstStyle/>
        <a:p>
          <a:r>
            <a:rPr lang="en-US">
              <a:latin typeface="+mj-lt"/>
            </a:rPr>
            <a:t>Deadlock Monitor</a:t>
          </a:r>
          <a:endParaRPr lang="en-US" dirty="0">
            <a:latin typeface="+mj-lt"/>
          </a:endParaRPr>
        </a:p>
      </dgm:t>
    </dgm:pt>
    <dgm:pt modelId="{8320C4EF-E2F9-4392-9B8F-A785C4C728BB}" type="parTrans" cxnId="{58E8E1B5-72C9-4FBD-8DDA-EDDF61AA7849}">
      <dgm:prSet/>
      <dgm:spPr/>
      <dgm:t>
        <a:bodyPr/>
        <a:lstStyle/>
        <a:p>
          <a:endParaRPr lang="en-US"/>
        </a:p>
      </dgm:t>
    </dgm:pt>
    <dgm:pt modelId="{933B252D-9329-4419-AD11-90E29EFDBC4F}" type="sibTrans" cxnId="{58E8E1B5-72C9-4FBD-8DDA-EDDF61AA7849}">
      <dgm:prSet/>
      <dgm:spPr/>
      <dgm:t>
        <a:bodyPr/>
        <a:lstStyle/>
        <a:p>
          <a:endParaRPr lang="en-US"/>
        </a:p>
      </dgm:t>
    </dgm:pt>
    <dgm:pt modelId="{38A58C8F-3D4D-4C41-84EC-1E7E5CD045C0}">
      <dgm:prSet/>
      <dgm:spPr/>
      <dgm:t>
        <a:bodyPr/>
        <a:lstStyle/>
        <a:p>
          <a:r>
            <a:rPr lang="en-US">
              <a:latin typeface="+mj-lt"/>
            </a:rPr>
            <a:t>Scheduler Monitor</a:t>
          </a:r>
          <a:endParaRPr lang="en-US" dirty="0">
            <a:latin typeface="+mj-lt"/>
          </a:endParaRPr>
        </a:p>
      </dgm:t>
    </dgm:pt>
    <dgm:pt modelId="{3D9D2F31-1C64-4CCF-A843-06812EA42B55}" type="parTrans" cxnId="{6467180F-3875-4934-A83E-907599B1FD3C}">
      <dgm:prSet/>
      <dgm:spPr/>
      <dgm:t>
        <a:bodyPr/>
        <a:lstStyle/>
        <a:p>
          <a:endParaRPr lang="en-US"/>
        </a:p>
      </dgm:t>
    </dgm:pt>
    <dgm:pt modelId="{0ECD15C7-21BD-4A6B-8AD2-B14453BBC7D5}" type="sibTrans" cxnId="{6467180F-3875-4934-A83E-907599B1FD3C}">
      <dgm:prSet/>
      <dgm:spPr/>
      <dgm:t>
        <a:bodyPr/>
        <a:lstStyle/>
        <a:p>
          <a:endParaRPr lang="en-US"/>
        </a:p>
      </dgm:t>
    </dgm:pt>
    <dgm:pt modelId="{877304CA-405D-4EF7-8C70-AEAC1D9CC12C}">
      <dgm:prSet/>
      <dgm:spPr/>
      <dgm:t>
        <a:bodyPr/>
        <a:lstStyle/>
        <a:p>
          <a:r>
            <a:rPr lang="en-US">
              <a:latin typeface="+mj-lt"/>
            </a:rPr>
            <a:t>Lazy Writer (Buffer Pool management)</a:t>
          </a:r>
          <a:endParaRPr lang="en-US" dirty="0">
            <a:latin typeface="+mj-lt"/>
          </a:endParaRPr>
        </a:p>
      </dgm:t>
    </dgm:pt>
    <dgm:pt modelId="{5E25B814-8E08-4381-BAE9-CED23AEE97BC}" type="parTrans" cxnId="{087B96E3-B086-4884-B5F3-48A49387373C}">
      <dgm:prSet/>
      <dgm:spPr/>
      <dgm:t>
        <a:bodyPr/>
        <a:lstStyle/>
        <a:p>
          <a:endParaRPr lang="en-US"/>
        </a:p>
      </dgm:t>
    </dgm:pt>
    <dgm:pt modelId="{81E53434-112A-41E9-8E19-7304E6676984}" type="sibTrans" cxnId="{087B96E3-B086-4884-B5F3-48A49387373C}">
      <dgm:prSet/>
      <dgm:spPr/>
      <dgm:t>
        <a:bodyPr/>
        <a:lstStyle/>
        <a:p>
          <a:endParaRPr lang="en-US"/>
        </a:p>
      </dgm:t>
    </dgm:pt>
    <dgm:pt modelId="{E9F146BC-EDFF-458C-B75C-2311AE666945}">
      <dgm:prSet/>
      <dgm:spPr/>
      <dgm:t>
        <a:bodyPr/>
        <a:lstStyle/>
        <a:p>
          <a:r>
            <a:rPr lang="en-US">
              <a:latin typeface="+mj-lt"/>
            </a:rPr>
            <a:t>Dynamic Management Views (DMVs)</a:t>
          </a:r>
          <a:endParaRPr lang="en-US" dirty="0">
            <a:latin typeface="+mj-lt"/>
          </a:endParaRPr>
        </a:p>
      </dgm:t>
    </dgm:pt>
    <dgm:pt modelId="{21C7A925-3964-4724-A588-324CFE199F3C}" type="parTrans" cxnId="{F1B7585A-52D3-4D51-A737-C8DBD0D8CB0B}">
      <dgm:prSet/>
      <dgm:spPr/>
      <dgm:t>
        <a:bodyPr/>
        <a:lstStyle/>
        <a:p>
          <a:endParaRPr lang="en-US"/>
        </a:p>
      </dgm:t>
    </dgm:pt>
    <dgm:pt modelId="{C6B06B2E-9644-4DE7-B458-F59D67196DC8}" type="sibTrans" cxnId="{F1B7585A-52D3-4D51-A737-C8DBD0D8CB0B}">
      <dgm:prSet/>
      <dgm:spPr/>
      <dgm:t>
        <a:bodyPr/>
        <a:lstStyle/>
        <a:p>
          <a:endParaRPr lang="en-US"/>
        </a:p>
      </dgm:t>
    </dgm:pt>
    <dgm:pt modelId="{799E6B04-6284-4FBF-A3E4-FECD49E6A90A}">
      <dgm:prSet/>
      <dgm:spPr/>
      <dgm:t>
        <a:bodyPr/>
        <a:lstStyle/>
        <a:p>
          <a:r>
            <a:rPr lang="en-US">
              <a:latin typeface="+mj-lt"/>
            </a:rPr>
            <a:t>Extended Events</a:t>
          </a:r>
          <a:endParaRPr lang="en-US" dirty="0">
            <a:latin typeface="+mj-lt"/>
          </a:endParaRPr>
        </a:p>
      </dgm:t>
    </dgm:pt>
    <dgm:pt modelId="{7B6724DA-5DB7-4969-8D23-AFC0E0773708}" type="parTrans" cxnId="{CE5C5958-C54C-4B66-AC4E-39289A7FC1DC}">
      <dgm:prSet/>
      <dgm:spPr/>
      <dgm:t>
        <a:bodyPr/>
        <a:lstStyle/>
        <a:p>
          <a:endParaRPr lang="en-US"/>
        </a:p>
      </dgm:t>
    </dgm:pt>
    <dgm:pt modelId="{8D69D8F0-08F2-49C8-BFB1-298D57ED2F93}" type="sibTrans" cxnId="{CE5C5958-C54C-4B66-AC4E-39289A7FC1DC}">
      <dgm:prSet/>
      <dgm:spPr/>
      <dgm:t>
        <a:bodyPr/>
        <a:lstStyle/>
        <a:p>
          <a:endParaRPr lang="en-US"/>
        </a:p>
      </dgm:t>
    </dgm:pt>
    <dgm:pt modelId="{4BC759EE-4BBD-45C1-A456-C6DBD3995E8B}">
      <dgm:prSet/>
      <dgm:spPr/>
      <dgm:t>
        <a:bodyPr/>
        <a:lstStyle/>
        <a:p>
          <a:r>
            <a:rPr lang="en-US" dirty="0">
              <a:latin typeface="+mj-lt"/>
            </a:rPr>
            <a:t>Dedicated Administrator Connection (DAC)</a:t>
          </a:r>
          <a:endParaRPr lang="en-US" dirty="0"/>
        </a:p>
      </dgm:t>
    </dgm:pt>
    <dgm:pt modelId="{A92F9139-1B15-4528-84DB-88A081D21850}" type="parTrans" cxnId="{7DEEC481-57AD-4CB6-8DB2-F05DB916A9A6}">
      <dgm:prSet/>
      <dgm:spPr/>
      <dgm:t>
        <a:bodyPr/>
        <a:lstStyle/>
        <a:p>
          <a:endParaRPr lang="en-US"/>
        </a:p>
      </dgm:t>
    </dgm:pt>
    <dgm:pt modelId="{6BA9C988-2CC2-4EB1-96B0-1F5152B0D754}" type="sibTrans" cxnId="{7DEEC481-57AD-4CB6-8DB2-F05DB916A9A6}">
      <dgm:prSet/>
      <dgm:spPr/>
      <dgm:t>
        <a:bodyPr/>
        <a:lstStyle/>
        <a:p>
          <a:endParaRPr lang="en-US"/>
        </a:p>
      </dgm:t>
    </dgm:pt>
    <dgm:pt modelId="{D9444157-FC01-4DF3-B374-D97F2906D86C}" type="pres">
      <dgm:prSet presAssocID="{64BF0DCD-E488-4C77-B299-EA375E7B1659}" presName="Name0" presStyleCnt="0">
        <dgm:presLayoutVars>
          <dgm:dir/>
          <dgm:animLvl val="lvl"/>
          <dgm:resizeHandles val="exact"/>
        </dgm:presLayoutVars>
      </dgm:prSet>
      <dgm:spPr/>
    </dgm:pt>
    <dgm:pt modelId="{1B9B13D9-BA84-4C8A-A7F1-2A82B8E9B0FC}" type="pres">
      <dgm:prSet presAssocID="{456D1D49-6979-4A1B-B069-CC14616C89C5}" presName="composite" presStyleCnt="0"/>
      <dgm:spPr/>
    </dgm:pt>
    <dgm:pt modelId="{DECFE222-2D5A-4A1B-9046-4D065BA79C36}" type="pres">
      <dgm:prSet presAssocID="{456D1D49-6979-4A1B-B069-CC14616C89C5}" presName="parTx" presStyleLbl="alignNode1" presStyleIdx="0" presStyleCnt="2">
        <dgm:presLayoutVars>
          <dgm:chMax val="0"/>
          <dgm:chPref val="0"/>
          <dgm:bulletEnabled val="1"/>
        </dgm:presLayoutVars>
      </dgm:prSet>
      <dgm:spPr/>
    </dgm:pt>
    <dgm:pt modelId="{E00CBA4F-BD30-43E5-804F-0C1AFABFED89}" type="pres">
      <dgm:prSet presAssocID="{456D1D49-6979-4A1B-B069-CC14616C89C5}" presName="desTx" presStyleLbl="alignAccFollowNode1" presStyleIdx="0" presStyleCnt="2">
        <dgm:presLayoutVars>
          <dgm:bulletEnabled val="1"/>
        </dgm:presLayoutVars>
      </dgm:prSet>
      <dgm:spPr/>
    </dgm:pt>
    <dgm:pt modelId="{35678607-AC5C-412C-84CF-3B4AAB2E8368}" type="pres">
      <dgm:prSet presAssocID="{D5DA2F46-75CA-48BE-B4FE-668DDF4397FC}" presName="space" presStyleCnt="0"/>
      <dgm:spPr/>
    </dgm:pt>
    <dgm:pt modelId="{F37F7AA4-BBBA-4287-926F-BB0E794E0B75}" type="pres">
      <dgm:prSet presAssocID="{84C6D042-49EA-45BF-BF34-4520D2F4952C}" presName="composite" presStyleCnt="0"/>
      <dgm:spPr/>
    </dgm:pt>
    <dgm:pt modelId="{45D8A25D-87CA-4E0A-85F2-3D16A7C72C1D}" type="pres">
      <dgm:prSet presAssocID="{84C6D042-49EA-45BF-BF34-4520D2F4952C}" presName="parTx" presStyleLbl="alignNode1" presStyleIdx="1" presStyleCnt="2">
        <dgm:presLayoutVars>
          <dgm:chMax val="0"/>
          <dgm:chPref val="0"/>
          <dgm:bulletEnabled val="1"/>
        </dgm:presLayoutVars>
      </dgm:prSet>
      <dgm:spPr/>
    </dgm:pt>
    <dgm:pt modelId="{AD34648F-7D87-49A8-ACEF-388E87F344EC}" type="pres">
      <dgm:prSet presAssocID="{84C6D042-49EA-45BF-BF34-4520D2F4952C}" presName="desTx" presStyleLbl="alignAccFollowNode1" presStyleIdx="1" presStyleCnt="2">
        <dgm:presLayoutVars>
          <dgm:bulletEnabled val="1"/>
        </dgm:presLayoutVars>
      </dgm:prSet>
      <dgm:spPr/>
    </dgm:pt>
  </dgm:ptLst>
  <dgm:cxnLst>
    <dgm:cxn modelId="{1B3C370C-4E53-418D-8AEB-F748B6967729}" type="presOf" srcId="{799E6B04-6284-4FBF-A3E4-FECD49E6A90A}" destId="{AD34648F-7D87-49A8-ACEF-388E87F344EC}" srcOrd="0" destOrd="5" presId="urn:microsoft.com/office/officeart/2005/8/layout/hList1"/>
    <dgm:cxn modelId="{6467180F-3875-4934-A83E-907599B1FD3C}" srcId="{84C6D042-49EA-45BF-BF34-4520D2F4952C}" destId="{38A58C8F-3D4D-4C41-84EC-1E7E5CD045C0}" srcOrd="2" destOrd="0" parTransId="{3D9D2F31-1C64-4CCF-A843-06812EA42B55}" sibTransId="{0ECD15C7-21BD-4A6B-8AD2-B14453BBC7D5}"/>
    <dgm:cxn modelId="{5E3A2717-292E-4D83-AB7F-BAD589B79C7E}" srcId="{456D1D49-6979-4A1B-B069-CC14616C89C5}" destId="{9893C4C8-7CDC-42E7-A899-41E5F12D4289}" srcOrd="4" destOrd="0" parTransId="{2BC13D61-CCF8-463B-90D9-FDA575E960EA}" sibTransId="{A68CB042-C9E4-46AE-BA93-138E05ADC218}"/>
    <dgm:cxn modelId="{E96BFE18-0AEC-4838-8187-B4B41FA26CF5}" srcId="{84C6D042-49EA-45BF-BF34-4520D2F4952C}" destId="{77654ABF-E368-4AAC-AE34-686D9E2BDB5E}" srcOrd="0" destOrd="0" parTransId="{17DD1F40-E0E8-40AA-8817-9C6BB96D4C1F}" sibTransId="{C46BCBCF-89BE-4E9E-8597-174E358AEE34}"/>
    <dgm:cxn modelId="{3B47A219-3AC2-4F75-9546-BF9FB05A62B3}" srcId="{64BF0DCD-E488-4C77-B299-EA375E7B1659}" destId="{84C6D042-49EA-45BF-BF34-4520D2F4952C}" srcOrd="1" destOrd="0" parTransId="{035B6CC2-D8FE-40C1-8735-6CFE06391818}" sibTransId="{4541ADEB-CFBF-4468-A2F9-141754A6501A}"/>
    <dgm:cxn modelId="{A8D08320-8C08-4F9A-BCB6-FF6565057F3D}" type="presOf" srcId="{38A58C8F-3D4D-4C41-84EC-1E7E5CD045C0}" destId="{AD34648F-7D87-49A8-ACEF-388E87F344EC}" srcOrd="0" destOrd="2" presId="urn:microsoft.com/office/officeart/2005/8/layout/hList1"/>
    <dgm:cxn modelId="{C7F72B26-3221-4FE6-85FC-C27C1559A31B}" type="presOf" srcId="{4BC759EE-4BBD-45C1-A456-C6DBD3995E8B}" destId="{AD34648F-7D87-49A8-ACEF-388E87F344EC}" srcOrd="0" destOrd="6" presId="urn:microsoft.com/office/officeart/2005/8/layout/hList1"/>
    <dgm:cxn modelId="{4DD8B038-0A05-4935-AD67-C45E47A1B60F}" type="presOf" srcId="{E9F146BC-EDFF-458C-B75C-2311AE666945}" destId="{AD34648F-7D87-49A8-ACEF-388E87F344EC}" srcOrd="0" destOrd="4" presId="urn:microsoft.com/office/officeart/2005/8/layout/hList1"/>
    <dgm:cxn modelId="{669A4F5D-CC2B-4877-80C7-570B8200749B}" type="presOf" srcId="{E2751BB0-CE0C-4DC9-9092-C1DB48F21F5F}" destId="{AD34648F-7D87-49A8-ACEF-388E87F344EC}" srcOrd="0" destOrd="1" presId="urn:microsoft.com/office/officeart/2005/8/layout/hList1"/>
    <dgm:cxn modelId="{7F204644-4576-46AF-9FCF-DD09ACD388F9}" srcId="{456D1D49-6979-4A1B-B069-CC14616C89C5}" destId="{416A51FF-50BA-4769-A9B3-8FC6714DC899}" srcOrd="1" destOrd="0" parTransId="{D1BF2092-A472-43ED-A548-CDE201F5C24F}" sibTransId="{998B3A49-3DD8-4950-9319-00281840E684}"/>
    <dgm:cxn modelId="{C5D7C64B-2638-4CEE-B662-C96D87D4F008}" srcId="{456D1D49-6979-4A1B-B069-CC14616C89C5}" destId="{9F8A8E49-522D-4085-9A5C-6E559173B8DA}" srcOrd="2" destOrd="0" parTransId="{4D397B02-DB34-40B8-8657-4F8635D24769}" sibTransId="{BC72DF80-36C6-4071-B0FD-112090AEE4FD}"/>
    <dgm:cxn modelId="{A3EFB94C-B9CF-4724-8C74-039911C6E99C}" srcId="{456D1D49-6979-4A1B-B069-CC14616C89C5}" destId="{1CC54FFA-7C20-4DA1-AA81-7DE6D85DE4BF}" srcOrd="0" destOrd="0" parTransId="{5DD522A8-0DF6-4FA6-B3CD-DCBA093E2F82}" sibTransId="{304C4A10-5309-4000-85E8-A91EF32E0570}"/>
    <dgm:cxn modelId="{9559F06F-ED52-4545-8861-4339DD8A6CB8}" type="presOf" srcId="{64BF0DCD-E488-4C77-B299-EA375E7B1659}" destId="{D9444157-FC01-4DF3-B374-D97F2906D86C}" srcOrd="0" destOrd="0" presId="urn:microsoft.com/office/officeart/2005/8/layout/hList1"/>
    <dgm:cxn modelId="{3ACB1670-4C58-400F-AA64-6B17D0F16322}" type="presOf" srcId="{416A51FF-50BA-4769-A9B3-8FC6714DC899}" destId="{E00CBA4F-BD30-43E5-804F-0C1AFABFED89}" srcOrd="0" destOrd="1" presId="urn:microsoft.com/office/officeart/2005/8/layout/hList1"/>
    <dgm:cxn modelId="{94EB6C50-CA1E-46F4-AA3E-79EEBFF90CCB}" type="presOf" srcId="{877304CA-405D-4EF7-8C70-AEAC1D9CC12C}" destId="{AD34648F-7D87-49A8-ACEF-388E87F344EC}" srcOrd="0" destOrd="3" presId="urn:microsoft.com/office/officeart/2005/8/layout/hList1"/>
    <dgm:cxn modelId="{514D4471-3E8A-4534-89D5-5A65076631FE}" type="presOf" srcId="{9F8A8E49-522D-4085-9A5C-6E559173B8DA}" destId="{E00CBA4F-BD30-43E5-804F-0C1AFABFED89}" srcOrd="0" destOrd="2" presId="urn:microsoft.com/office/officeart/2005/8/layout/hList1"/>
    <dgm:cxn modelId="{A40D4D78-9D55-4BCC-B274-C7F3CF875141}" type="presOf" srcId="{1CC54FFA-7C20-4DA1-AA81-7DE6D85DE4BF}" destId="{E00CBA4F-BD30-43E5-804F-0C1AFABFED89}" srcOrd="0" destOrd="0" presId="urn:microsoft.com/office/officeart/2005/8/layout/hList1"/>
    <dgm:cxn modelId="{CE5C5958-C54C-4B66-AC4E-39289A7FC1DC}" srcId="{84C6D042-49EA-45BF-BF34-4520D2F4952C}" destId="{799E6B04-6284-4FBF-A3E4-FECD49E6A90A}" srcOrd="5" destOrd="0" parTransId="{7B6724DA-5DB7-4969-8D23-AFC0E0773708}" sibTransId="{8D69D8F0-08F2-49C8-BFB1-298D57ED2F93}"/>
    <dgm:cxn modelId="{F1B7585A-52D3-4D51-A737-C8DBD0D8CB0B}" srcId="{84C6D042-49EA-45BF-BF34-4520D2F4952C}" destId="{E9F146BC-EDFF-458C-B75C-2311AE666945}" srcOrd="4" destOrd="0" parTransId="{21C7A925-3964-4724-A588-324CFE199F3C}" sibTransId="{C6B06B2E-9644-4DE7-B458-F59D67196DC8}"/>
    <dgm:cxn modelId="{CA7FD07A-EAE0-4F9E-8E5D-E6A380D1CCE4}" type="presOf" srcId="{861CFCB4-98B4-45B6-BAE2-B880CC9E5655}" destId="{E00CBA4F-BD30-43E5-804F-0C1AFABFED89}" srcOrd="0" destOrd="3" presId="urn:microsoft.com/office/officeart/2005/8/layout/hList1"/>
    <dgm:cxn modelId="{7DEEC481-57AD-4CB6-8DB2-F05DB916A9A6}" srcId="{84C6D042-49EA-45BF-BF34-4520D2F4952C}" destId="{4BC759EE-4BBD-45C1-A456-C6DBD3995E8B}" srcOrd="6" destOrd="0" parTransId="{A92F9139-1B15-4528-84DB-88A081D21850}" sibTransId="{6BA9C988-2CC2-4EB1-96B0-1F5152B0D754}"/>
    <dgm:cxn modelId="{71955B95-A3EC-4EFB-A238-DF9687F21FC2}" type="presOf" srcId="{456D1D49-6979-4A1B-B069-CC14616C89C5}" destId="{DECFE222-2D5A-4A1B-9046-4D065BA79C36}" srcOrd="0" destOrd="0" presId="urn:microsoft.com/office/officeart/2005/8/layout/hList1"/>
    <dgm:cxn modelId="{B19412A0-4B5C-47DB-AAF9-8F74FBA614C5}" type="presOf" srcId="{9893C4C8-7CDC-42E7-A899-41E5F12D4289}" destId="{E00CBA4F-BD30-43E5-804F-0C1AFABFED89}" srcOrd="0" destOrd="4" presId="urn:microsoft.com/office/officeart/2005/8/layout/hList1"/>
    <dgm:cxn modelId="{D355EAAD-D1A7-4A90-B7E1-B88CA350CB46}" type="presOf" srcId="{84C6D042-49EA-45BF-BF34-4520D2F4952C}" destId="{45D8A25D-87CA-4E0A-85F2-3D16A7C72C1D}" srcOrd="0" destOrd="0" presId="urn:microsoft.com/office/officeart/2005/8/layout/hList1"/>
    <dgm:cxn modelId="{42F34CAE-D158-4E2F-845D-822CF882EC92}" srcId="{456D1D49-6979-4A1B-B069-CC14616C89C5}" destId="{861CFCB4-98B4-45B6-BAE2-B880CC9E5655}" srcOrd="3" destOrd="0" parTransId="{0A5A0CCD-DFDA-4959-A69B-2BC358AFA8F6}" sibTransId="{CF3E7107-0043-4018-A7A5-9BCBA3A42497}"/>
    <dgm:cxn modelId="{58E8E1B5-72C9-4FBD-8DDA-EDDF61AA7849}" srcId="{84C6D042-49EA-45BF-BF34-4520D2F4952C}" destId="{E2751BB0-CE0C-4DC9-9092-C1DB48F21F5F}" srcOrd="1" destOrd="0" parTransId="{8320C4EF-E2F9-4392-9B8F-A785C4C728BB}" sibTransId="{933B252D-9329-4419-AD11-90E29EFDBC4F}"/>
    <dgm:cxn modelId="{5C1882B6-71BF-42B2-8F9E-00D5C2105316}" type="presOf" srcId="{77654ABF-E368-4AAC-AE34-686D9E2BDB5E}" destId="{AD34648F-7D87-49A8-ACEF-388E87F344EC}" srcOrd="0" destOrd="0" presId="urn:microsoft.com/office/officeart/2005/8/layout/hList1"/>
    <dgm:cxn modelId="{1B6B91BD-FF66-42EB-AE69-7BAEADEFA8DC}" srcId="{64BF0DCD-E488-4C77-B299-EA375E7B1659}" destId="{456D1D49-6979-4A1B-B069-CC14616C89C5}" srcOrd="0" destOrd="0" parTransId="{4726CEC5-2192-4EB0-869C-847C34107D6B}" sibTransId="{D5DA2F46-75CA-48BE-B4FE-668DDF4397FC}"/>
    <dgm:cxn modelId="{087B96E3-B086-4884-B5F3-48A49387373C}" srcId="{84C6D042-49EA-45BF-BF34-4520D2F4952C}" destId="{877304CA-405D-4EF7-8C70-AEAC1D9CC12C}" srcOrd="3" destOrd="0" parTransId="{5E25B814-8E08-4381-BAE9-CED23AEE97BC}" sibTransId="{81E53434-112A-41E9-8E19-7304E6676984}"/>
    <dgm:cxn modelId="{B7A2E2C1-EC34-4A5D-B2BC-3725BD6CDAC4}" type="presParOf" srcId="{D9444157-FC01-4DF3-B374-D97F2906D86C}" destId="{1B9B13D9-BA84-4C8A-A7F1-2A82B8E9B0FC}" srcOrd="0" destOrd="0" presId="urn:microsoft.com/office/officeart/2005/8/layout/hList1"/>
    <dgm:cxn modelId="{69DD68C5-A162-465A-A3B0-24F7C18B24B6}" type="presParOf" srcId="{1B9B13D9-BA84-4C8A-A7F1-2A82B8E9B0FC}" destId="{DECFE222-2D5A-4A1B-9046-4D065BA79C36}" srcOrd="0" destOrd="0" presId="urn:microsoft.com/office/officeart/2005/8/layout/hList1"/>
    <dgm:cxn modelId="{BF16BDAB-6AD3-4C41-A93B-DB5D35AD5CEE}" type="presParOf" srcId="{1B9B13D9-BA84-4C8A-A7F1-2A82B8E9B0FC}" destId="{E00CBA4F-BD30-43E5-804F-0C1AFABFED89}" srcOrd="1" destOrd="0" presId="urn:microsoft.com/office/officeart/2005/8/layout/hList1"/>
    <dgm:cxn modelId="{D5B8FC0F-BA47-40A3-911F-F4E22D9523D8}" type="presParOf" srcId="{D9444157-FC01-4DF3-B374-D97F2906D86C}" destId="{35678607-AC5C-412C-84CF-3B4AAB2E8368}" srcOrd="1" destOrd="0" presId="urn:microsoft.com/office/officeart/2005/8/layout/hList1"/>
    <dgm:cxn modelId="{CF05D126-C8F4-4EE1-84E8-518E24960A88}" type="presParOf" srcId="{D9444157-FC01-4DF3-B374-D97F2906D86C}" destId="{F37F7AA4-BBBA-4287-926F-BB0E794E0B75}" srcOrd="2" destOrd="0" presId="urn:microsoft.com/office/officeart/2005/8/layout/hList1"/>
    <dgm:cxn modelId="{BE247666-C8C0-497D-A6F9-42C93F3309C9}" type="presParOf" srcId="{F37F7AA4-BBBA-4287-926F-BB0E794E0B75}" destId="{45D8A25D-87CA-4E0A-85F2-3D16A7C72C1D}" srcOrd="0" destOrd="0" presId="urn:microsoft.com/office/officeart/2005/8/layout/hList1"/>
    <dgm:cxn modelId="{59BFD6E9-B41A-4755-9016-E8F609CB1EA6}" type="presParOf" srcId="{F37F7AA4-BBBA-4287-926F-BB0E794E0B75}" destId="{AD34648F-7D87-49A8-ACEF-388E87F344EC}"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While troubleshooting a resource bottleneck what two objects should you examin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What are the three components that make up query execution tim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What is the difference between a PAGELATCH wait and a PAGEIOLATCH wai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Which DMV should you examine to view historical wait information?</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Which DMV should you examine to view current wait information?</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5">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5">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How does the SQLOS improve the efficiency of the SQL Server database engine cod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are the two main functions of the SQLOS?</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DB95185-5271-4537-9635-5B0B2AE2AA6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455C7050-1816-4F48-8137-089F75DCC4D1}">
      <dgm:prSet/>
      <dgm:spPr/>
      <dgm:t>
        <a:bodyPr/>
        <a:lstStyle/>
        <a:p>
          <a:r>
            <a:rPr lang="en-US" b="1" baseline="0"/>
            <a:t>Batch</a:t>
          </a:r>
          <a:endParaRPr lang="en-US"/>
        </a:p>
      </dgm:t>
    </dgm:pt>
    <dgm:pt modelId="{140DFF5B-9712-4D5E-B971-B2D9333DE225}" type="parTrans" cxnId="{D408DE9C-D54A-45E8-8F0D-EFB2939976E6}">
      <dgm:prSet/>
      <dgm:spPr/>
      <dgm:t>
        <a:bodyPr/>
        <a:lstStyle/>
        <a:p>
          <a:endParaRPr lang="en-US"/>
        </a:p>
      </dgm:t>
    </dgm:pt>
    <dgm:pt modelId="{26BE0BEE-35B6-4687-A137-39A9F0E44FBA}" type="sibTrans" cxnId="{D408DE9C-D54A-45E8-8F0D-EFB2939976E6}">
      <dgm:prSet/>
      <dgm:spPr/>
      <dgm:t>
        <a:bodyPr/>
        <a:lstStyle/>
        <a:p>
          <a:endParaRPr lang="en-US"/>
        </a:p>
      </dgm:t>
    </dgm:pt>
    <dgm:pt modelId="{C7E7001F-8E3F-40AA-B39E-B128BC5E5155}">
      <dgm:prSet/>
      <dgm:spPr/>
      <dgm:t>
        <a:bodyPr/>
        <a:lstStyle/>
        <a:p>
          <a:r>
            <a:rPr lang="en-US" baseline="0"/>
            <a:t>A statement or set of statements submitted to SQL Server by the user (a query), also referred to as a request</a:t>
          </a:r>
          <a:endParaRPr lang="en-US"/>
        </a:p>
      </dgm:t>
    </dgm:pt>
    <dgm:pt modelId="{7267E3B1-FC77-41D2-93E9-7304ED00CE69}" type="parTrans" cxnId="{996BC07D-949C-4D47-89BD-C2CCD3248FF0}">
      <dgm:prSet/>
      <dgm:spPr/>
      <dgm:t>
        <a:bodyPr/>
        <a:lstStyle/>
        <a:p>
          <a:endParaRPr lang="en-US"/>
        </a:p>
      </dgm:t>
    </dgm:pt>
    <dgm:pt modelId="{87ACAD42-5314-44B2-8461-D1B8F04E2D95}" type="sibTrans" cxnId="{996BC07D-949C-4D47-89BD-C2CCD3248FF0}">
      <dgm:prSet/>
      <dgm:spPr/>
      <dgm:t>
        <a:bodyPr/>
        <a:lstStyle/>
        <a:p>
          <a:endParaRPr lang="en-US"/>
        </a:p>
      </dgm:t>
    </dgm:pt>
    <dgm:pt modelId="{6B18C4C1-B91A-43CC-BAE6-BCF1D97F8FF1}">
      <dgm:prSet/>
      <dgm:spPr/>
      <dgm:t>
        <a:bodyPr/>
        <a:lstStyle/>
        <a:p>
          <a:r>
            <a:rPr lang="en-US" baseline="0"/>
            <a:t>Monitor with sys.dm_exec_requests </a:t>
          </a:r>
          <a:endParaRPr lang="en-US" dirty="0"/>
        </a:p>
      </dgm:t>
    </dgm:pt>
    <dgm:pt modelId="{307195AE-2FD3-42A8-9E7C-BF435BF82A39}" type="parTrans" cxnId="{F4D9E3EA-64BC-4DBB-85C0-D68C45E04AB1}">
      <dgm:prSet/>
      <dgm:spPr/>
      <dgm:t>
        <a:bodyPr/>
        <a:lstStyle/>
        <a:p>
          <a:endParaRPr lang="en-US"/>
        </a:p>
      </dgm:t>
    </dgm:pt>
    <dgm:pt modelId="{327B1A75-1710-4F59-B9BD-F05A6DDA723C}" type="sibTrans" cxnId="{F4D9E3EA-64BC-4DBB-85C0-D68C45E04AB1}">
      <dgm:prSet/>
      <dgm:spPr/>
      <dgm:t>
        <a:bodyPr/>
        <a:lstStyle/>
        <a:p>
          <a:endParaRPr lang="en-US"/>
        </a:p>
      </dgm:t>
    </dgm:pt>
    <dgm:pt modelId="{90FBFA1F-18D6-40CE-B8A8-39B75C20E60D}">
      <dgm:prSet/>
      <dgm:spPr/>
      <dgm:t>
        <a:bodyPr/>
        <a:lstStyle/>
        <a:p>
          <a:r>
            <a:rPr lang="en-US" b="1" baseline="0"/>
            <a:t>Task</a:t>
          </a:r>
          <a:endParaRPr lang="en-US"/>
        </a:p>
      </dgm:t>
    </dgm:pt>
    <dgm:pt modelId="{4B7B42D6-985B-42D7-9FB0-BE56B44766BC}" type="parTrans" cxnId="{DF812F31-C2A8-4346-857A-7F02EC4106F5}">
      <dgm:prSet/>
      <dgm:spPr/>
      <dgm:t>
        <a:bodyPr/>
        <a:lstStyle/>
        <a:p>
          <a:endParaRPr lang="en-US"/>
        </a:p>
      </dgm:t>
    </dgm:pt>
    <dgm:pt modelId="{86B88518-74DE-4258-9013-31B149B8779E}" type="sibTrans" cxnId="{DF812F31-C2A8-4346-857A-7F02EC4106F5}">
      <dgm:prSet/>
      <dgm:spPr/>
      <dgm:t>
        <a:bodyPr/>
        <a:lstStyle/>
        <a:p>
          <a:endParaRPr lang="en-US"/>
        </a:p>
      </dgm:t>
    </dgm:pt>
    <dgm:pt modelId="{2835D3F9-98AC-4FB0-A71C-2CE671F9A849}">
      <dgm:prSet/>
      <dgm:spPr/>
      <dgm:t>
        <a:bodyPr/>
        <a:lstStyle/>
        <a:p>
          <a:r>
            <a:rPr lang="en-US" baseline="0"/>
            <a:t>A batch will have one or more tasks (aligns with statements)</a:t>
          </a:r>
          <a:endParaRPr lang="en-US"/>
        </a:p>
      </dgm:t>
    </dgm:pt>
    <dgm:pt modelId="{EEFFA462-6F89-4EF0-B506-E8B31A5925BA}" type="parTrans" cxnId="{B3420FB6-F1B0-4132-B603-35E5771AC8B9}">
      <dgm:prSet/>
      <dgm:spPr/>
      <dgm:t>
        <a:bodyPr/>
        <a:lstStyle/>
        <a:p>
          <a:endParaRPr lang="en-US"/>
        </a:p>
      </dgm:t>
    </dgm:pt>
    <dgm:pt modelId="{88B397D5-9010-4D42-85F3-D48517906106}" type="sibTrans" cxnId="{B3420FB6-F1B0-4132-B603-35E5771AC8B9}">
      <dgm:prSet/>
      <dgm:spPr/>
      <dgm:t>
        <a:bodyPr/>
        <a:lstStyle/>
        <a:p>
          <a:endParaRPr lang="en-US"/>
        </a:p>
      </dgm:t>
    </dgm:pt>
    <dgm:pt modelId="{B2C13AC2-F70B-4249-8434-52E45A2187BA}">
      <dgm:prSet/>
      <dgm:spPr/>
      <dgm:t>
        <a:bodyPr/>
        <a:lstStyle/>
        <a:p>
          <a:r>
            <a:rPr lang="en-US" baseline="0" dirty="0"/>
            <a:t>Monitor with sys.dm_os_tasks</a:t>
          </a:r>
          <a:endParaRPr lang="en-US" dirty="0"/>
        </a:p>
      </dgm:t>
    </dgm:pt>
    <dgm:pt modelId="{4FCE17AC-4DB6-4EA0-B05F-0F5ADAF90099}" type="parTrans" cxnId="{77254CC4-4642-4CB3-A6F0-AAC184E66066}">
      <dgm:prSet/>
      <dgm:spPr/>
      <dgm:t>
        <a:bodyPr/>
        <a:lstStyle/>
        <a:p>
          <a:endParaRPr lang="en-US"/>
        </a:p>
      </dgm:t>
    </dgm:pt>
    <dgm:pt modelId="{04D7D795-73AC-40AC-87FD-68A06CBB2AB0}" type="sibTrans" cxnId="{77254CC4-4642-4CB3-A6F0-AAC184E66066}">
      <dgm:prSet/>
      <dgm:spPr/>
      <dgm:t>
        <a:bodyPr/>
        <a:lstStyle/>
        <a:p>
          <a:endParaRPr lang="en-US"/>
        </a:p>
      </dgm:t>
    </dgm:pt>
    <dgm:pt modelId="{37911ED4-3859-490A-B9A7-61D4FA5F442F}">
      <dgm:prSet/>
      <dgm:spPr/>
      <dgm:t>
        <a:bodyPr/>
        <a:lstStyle/>
        <a:p>
          <a:r>
            <a:rPr lang="en-US" b="1" baseline="0"/>
            <a:t>Worker</a:t>
          </a:r>
          <a:r>
            <a:rPr lang="en-US" baseline="0"/>
            <a:t> </a:t>
          </a:r>
          <a:r>
            <a:rPr lang="en-US" b="1" baseline="0"/>
            <a:t>Thread</a:t>
          </a:r>
          <a:endParaRPr lang="en-US"/>
        </a:p>
      </dgm:t>
    </dgm:pt>
    <dgm:pt modelId="{3F28786E-B68D-48C0-A4EF-DB2BFA11B92A}" type="parTrans" cxnId="{91B2AB04-81EB-42FE-B19A-BAABD9639A05}">
      <dgm:prSet/>
      <dgm:spPr/>
      <dgm:t>
        <a:bodyPr/>
        <a:lstStyle/>
        <a:p>
          <a:endParaRPr lang="en-US"/>
        </a:p>
      </dgm:t>
    </dgm:pt>
    <dgm:pt modelId="{FEBA6F1F-6E7B-42BF-9876-2E85BDB3DF61}" type="sibTrans" cxnId="{91B2AB04-81EB-42FE-B19A-BAABD9639A05}">
      <dgm:prSet/>
      <dgm:spPr/>
      <dgm:t>
        <a:bodyPr/>
        <a:lstStyle/>
        <a:p>
          <a:endParaRPr lang="en-US"/>
        </a:p>
      </dgm:t>
    </dgm:pt>
    <dgm:pt modelId="{F2BFC987-ADF0-4FBF-A12E-657A97CD0B2B}">
      <dgm:prSet/>
      <dgm:spPr/>
      <dgm:t>
        <a:bodyPr/>
        <a:lstStyle/>
        <a:p>
          <a:r>
            <a:rPr lang="en-US" baseline="0" dirty="0"/>
            <a:t>Each task will be assigned to a single worker thread for the life of the task</a:t>
          </a:r>
          <a:endParaRPr lang="en-US" dirty="0"/>
        </a:p>
      </dgm:t>
    </dgm:pt>
    <dgm:pt modelId="{D8D7E79C-124A-4354-9644-63A6B4302249}" type="parTrans" cxnId="{C552D862-D439-4DE8-A774-56E85F244B47}">
      <dgm:prSet/>
      <dgm:spPr/>
      <dgm:t>
        <a:bodyPr/>
        <a:lstStyle/>
        <a:p>
          <a:endParaRPr lang="en-US"/>
        </a:p>
      </dgm:t>
    </dgm:pt>
    <dgm:pt modelId="{5326DA49-DCE6-4A81-A919-0CDEDD8F85FC}" type="sibTrans" cxnId="{C552D862-D439-4DE8-A774-56E85F244B47}">
      <dgm:prSet/>
      <dgm:spPr/>
      <dgm:t>
        <a:bodyPr/>
        <a:lstStyle/>
        <a:p>
          <a:endParaRPr lang="en-US"/>
        </a:p>
      </dgm:t>
    </dgm:pt>
    <dgm:pt modelId="{0EECEF38-0FF6-4850-AE8C-837976071C75}">
      <dgm:prSet/>
      <dgm:spPr/>
      <dgm:t>
        <a:bodyPr/>
        <a:lstStyle/>
        <a:p>
          <a:r>
            <a:rPr lang="en-US" baseline="0" dirty="0"/>
            <a:t>Monitor with </a:t>
          </a:r>
          <a:r>
            <a:rPr lang="en-US" baseline="0" dirty="0" err="1"/>
            <a:t>sys.dm_os_workers</a:t>
          </a:r>
          <a:endParaRPr lang="en-US" dirty="0"/>
        </a:p>
      </dgm:t>
    </dgm:pt>
    <dgm:pt modelId="{7A1FE200-A22E-4E68-83D2-864D13D39FA0}" type="parTrans" cxnId="{081AB8D0-D6AD-4BDE-AF3D-2D0E063751DD}">
      <dgm:prSet/>
      <dgm:spPr/>
      <dgm:t>
        <a:bodyPr/>
        <a:lstStyle/>
        <a:p>
          <a:endParaRPr lang="en-US"/>
        </a:p>
      </dgm:t>
    </dgm:pt>
    <dgm:pt modelId="{0F6AA50D-E6FA-4877-A9F6-53CC5541A82C}" type="sibTrans" cxnId="{081AB8D0-D6AD-4BDE-AF3D-2D0E063751DD}">
      <dgm:prSet/>
      <dgm:spPr/>
      <dgm:t>
        <a:bodyPr/>
        <a:lstStyle/>
        <a:p>
          <a:endParaRPr lang="en-US"/>
        </a:p>
      </dgm:t>
    </dgm:pt>
    <dgm:pt modelId="{D3CBCC7D-C01A-4941-80CB-5C7B55B8B1BE}" type="pres">
      <dgm:prSet presAssocID="{EDB95185-5271-4537-9635-5B0B2AE2AA66}" presName="linear" presStyleCnt="0">
        <dgm:presLayoutVars>
          <dgm:animLvl val="lvl"/>
          <dgm:resizeHandles val="exact"/>
        </dgm:presLayoutVars>
      </dgm:prSet>
      <dgm:spPr/>
    </dgm:pt>
    <dgm:pt modelId="{389C90E9-1622-49BB-A182-28FAD8B80E3C}" type="pres">
      <dgm:prSet presAssocID="{455C7050-1816-4F48-8137-089F75DCC4D1}" presName="parentText" presStyleLbl="node1" presStyleIdx="0" presStyleCnt="3">
        <dgm:presLayoutVars>
          <dgm:chMax val="0"/>
          <dgm:bulletEnabled val="1"/>
        </dgm:presLayoutVars>
      </dgm:prSet>
      <dgm:spPr/>
    </dgm:pt>
    <dgm:pt modelId="{C4D172BD-3A27-46B8-886B-891BF3BE8CB8}" type="pres">
      <dgm:prSet presAssocID="{455C7050-1816-4F48-8137-089F75DCC4D1}" presName="childText" presStyleLbl="revTx" presStyleIdx="0" presStyleCnt="3">
        <dgm:presLayoutVars>
          <dgm:bulletEnabled val="1"/>
        </dgm:presLayoutVars>
      </dgm:prSet>
      <dgm:spPr/>
    </dgm:pt>
    <dgm:pt modelId="{5DD6315D-A3AF-4A66-B6E1-1F576C5DD880}" type="pres">
      <dgm:prSet presAssocID="{90FBFA1F-18D6-40CE-B8A8-39B75C20E60D}" presName="parentText" presStyleLbl="node1" presStyleIdx="1" presStyleCnt="3">
        <dgm:presLayoutVars>
          <dgm:chMax val="0"/>
          <dgm:bulletEnabled val="1"/>
        </dgm:presLayoutVars>
      </dgm:prSet>
      <dgm:spPr/>
    </dgm:pt>
    <dgm:pt modelId="{49F8B814-6CBE-4CAF-B0B6-2B5768970CEB}" type="pres">
      <dgm:prSet presAssocID="{90FBFA1F-18D6-40CE-B8A8-39B75C20E60D}" presName="childText" presStyleLbl="revTx" presStyleIdx="1" presStyleCnt="3">
        <dgm:presLayoutVars>
          <dgm:bulletEnabled val="1"/>
        </dgm:presLayoutVars>
      </dgm:prSet>
      <dgm:spPr/>
    </dgm:pt>
    <dgm:pt modelId="{CB7BEE8D-BC86-4209-BE73-55173F086263}" type="pres">
      <dgm:prSet presAssocID="{37911ED4-3859-490A-B9A7-61D4FA5F442F}" presName="parentText" presStyleLbl="node1" presStyleIdx="2" presStyleCnt="3">
        <dgm:presLayoutVars>
          <dgm:chMax val="0"/>
          <dgm:bulletEnabled val="1"/>
        </dgm:presLayoutVars>
      </dgm:prSet>
      <dgm:spPr/>
    </dgm:pt>
    <dgm:pt modelId="{89DE0FF6-00AD-4E7B-A269-DE37D9E8D853}" type="pres">
      <dgm:prSet presAssocID="{37911ED4-3859-490A-B9A7-61D4FA5F442F}" presName="childText" presStyleLbl="revTx" presStyleIdx="2" presStyleCnt="3">
        <dgm:presLayoutVars>
          <dgm:bulletEnabled val="1"/>
        </dgm:presLayoutVars>
      </dgm:prSet>
      <dgm:spPr/>
    </dgm:pt>
  </dgm:ptLst>
  <dgm:cxnLst>
    <dgm:cxn modelId="{91B2AB04-81EB-42FE-B19A-BAABD9639A05}" srcId="{EDB95185-5271-4537-9635-5B0B2AE2AA66}" destId="{37911ED4-3859-490A-B9A7-61D4FA5F442F}" srcOrd="2" destOrd="0" parTransId="{3F28786E-B68D-48C0-A4EF-DB2BFA11B92A}" sibTransId="{FEBA6F1F-6E7B-42BF-9876-2E85BDB3DF61}"/>
    <dgm:cxn modelId="{4FEF7506-0013-4759-A168-F5B663BFB9C8}" type="presOf" srcId="{455C7050-1816-4F48-8137-089F75DCC4D1}" destId="{389C90E9-1622-49BB-A182-28FAD8B80E3C}" srcOrd="0" destOrd="0" presId="urn:microsoft.com/office/officeart/2005/8/layout/vList2"/>
    <dgm:cxn modelId="{DF812F31-C2A8-4346-857A-7F02EC4106F5}" srcId="{EDB95185-5271-4537-9635-5B0B2AE2AA66}" destId="{90FBFA1F-18D6-40CE-B8A8-39B75C20E60D}" srcOrd="1" destOrd="0" parTransId="{4B7B42D6-985B-42D7-9FB0-BE56B44766BC}" sibTransId="{86B88518-74DE-4258-9013-31B149B8779E}"/>
    <dgm:cxn modelId="{0A1A6836-7E5B-4D4B-9EF3-3F0D5FE1BC49}" type="presOf" srcId="{B2C13AC2-F70B-4249-8434-52E45A2187BA}" destId="{49F8B814-6CBE-4CAF-B0B6-2B5768970CEB}" srcOrd="0" destOrd="1" presId="urn:microsoft.com/office/officeart/2005/8/layout/vList2"/>
    <dgm:cxn modelId="{9EECED3C-0EF5-4AB9-8B94-C7B2EF601779}" type="presOf" srcId="{C7E7001F-8E3F-40AA-B39E-B128BC5E5155}" destId="{C4D172BD-3A27-46B8-886B-891BF3BE8CB8}" srcOrd="0" destOrd="0" presId="urn:microsoft.com/office/officeart/2005/8/layout/vList2"/>
    <dgm:cxn modelId="{321C705C-5972-4E36-AA8F-3191BE964E99}" type="presOf" srcId="{37911ED4-3859-490A-B9A7-61D4FA5F442F}" destId="{CB7BEE8D-BC86-4209-BE73-55173F086263}" srcOrd="0" destOrd="0" presId="urn:microsoft.com/office/officeart/2005/8/layout/vList2"/>
    <dgm:cxn modelId="{C552D862-D439-4DE8-A774-56E85F244B47}" srcId="{37911ED4-3859-490A-B9A7-61D4FA5F442F}" destId="{F2BFC987-ADF0-4FBF-A12E-657A97CD0B2B}" srcOrd="0" destOrd="0" parTransId="{D8D7E79C-124A-4354-9644-63A6B4302249}" sibTransId="{5326DA49-DCE6-4A81-A919-0CDEDD8F85FC}"/>
    <dgm:cxn modelId="{EA14914D-B89A-427A-8DED-38BA5885ED1D}" type="presOf" srcId="{90FBFA1F-18D6-40CE-B8A8-39B75C20E60D}" destId="{5DD6315D-A3AF-4A66-B6E1-1F576C5DD880}" srcOrd="0" destOrd="0" presId="urn:microsoft.com/office/officeart/2005/8/layout/vList2"/>
    <dgm:cxn modelId="{996BC07D-949C-4D47-89BD-C2CCD3248FF0}" srcId="{455C7050-1816-4F48-8137-089F75DCC4D1}" destId="{C7E7001F-8E3F-40AA-B39E-B128BC5E5155}" srcOrd="0" destOrd="0" parTransId="{7267E3B1-FC77-41D2-93E9-7304ED00CE69}" sibTransId="{87ACAD42-5314-44B2-8461-D1B8F04E2D95}"/>
    <dgm:cxn modelId="{D408DE9C-D54A-45E8-8F0D-EFB2939976E6}" srcId="{EDB95185-5271-4537-9635-5B0B2AE2AA66}" destId="{455C7050-1816-4F48-8137-089F75DCC4D1}" srcOrd="0" destOrd="0" parTransId="{140DFF5B-9712-4D5E-B971-B2D9333DE225}" sibTransId="{26BE0BEE-35B6-4687-A137-39A9F0E44FBA}"/>
    <dgm:cxn modelId="{B3420FB6-F1B0-4132-B603-35E5771AC8B9}" srcId="{90FBFA1F-18D6-40CE-B8A8-39B75C20E60D}" destId="{2835D3F9-98AC-4FB0-A71C-2CE671F9A849}" srcOrd="0" destOrd="0" parTransId="{EEFFA462-6F89-4EF0-B506-E8B31A5925BA}" sibTransId="{88B397D5-9010-4D42-85F3-D48517906106}"/>
    <dgm:cxn modelId="{AFC81BB9-A77C-497D-926B-968597638BFA}" type="presOf" srcId="{0EECEF38-0FF6-4850-AE8C-837976071C75}" destId="{89DE0FF6-00AD-4E7B-A269-DE37D9E8D853}" srcOrd="0" destOrd="1" presId="urn:microsoft.com/office/officeart/2005/8/layout/vList2"/>
    <dgm:cxn modelId="{702CB3BF-923A-4EB0-B2E0-2D2EB0462671}" type="presOf" srcId="{2835D3F9-98AC-4FB0-A71C-2CE671F9A849}" destId="{49F8B814-6CBE-4CAF-B0B6-2B5768970CEB}" srcOrd="0" destOrd="0" presId="urn:microsoft.com/office/officeart/2005/8/layout/vList2"/>
    <dgm:cxn modelId="{77254CC4-4642-4CB3-A6F0-AAC184E66066}" srcId="{90FBFA1F-18D6-40CE-B8A8-39B75C20E60D}" destId="{B2C13AC2-F70B-4249-8434-52E45A2187BA}" srcOrd="1" destOrd="0" parTransId="{4FCE17AC-4DB6-4EA0-B05F-0F5ADAF90099}" sibTransId="{04D7D795-73AC-40AC-87FD-68A06CBB2AB0}"/>
    <dgm:cxn modelId="{9A4A13C5-0EC0-469E-AE22-00C84D050CFA}" type="presOf" srcId="{6B18C4C1-B91A-43CC-BAE6-BCF1D97F8FF1}" destId="{C4D172BD-3A27-46B8-886B-891BF3BE8CB8}" srcOrd="0" destOrd="1" presId="urn:microsoft.com/office/officeart/2005/8/layout/vList2"/>
    <dgm:cxn modelId="{36A658C9-F1A6-4DE0-B00D-36E0431106CA}" type="presOf" srcId="{EDB95185-5271-4537-9635-5B0B2AE2AA66}" destId="{D3CBCC7D-C01A-4941-80CB-5C7B55B8B1BE}" srcOrd="0" destOrd="0" presId="urn:microsoft.com/office/officeart/2005/8/layout/vList2"/>
    <dgm:cxn modelId="{BEF877CC-02F8-4860-A0C1-32A97BD98FB0}" type="presOf" srcId="{F2BFC987-ADF0-4FBF-A12E-657A97CD0B2B}" destId="{89DE0FF6-00AD-4E7B-A269-DE37D9E8D853}" srcOrd="0" destOrd="0" presId="urn:microsoft.com/office/officeart/2005/8/layout/vList2"/>
    <dgm:cxn modelId="{081AB8D0-D6AD-4BDE-AF3D-2D0E063751DD}" srcId="{37911ED4-3859-490A-B9A7-61D4FA5F442F}" destId="{0EECEF38-0FF6-4850-AE8C-837976071C75}" srcOrd="1" destOrd="0" parTransId="{7A1FE200-A22E-4E68-83D2-864D13D39FA0}" sibTransId="{0F6AA50D-E6FA-4877-A9F6-53CC5541A82C}"/>
    <dgm:cxn modelId="{F4D9E3EA-64BC-4DBB-85C0-D68C45E04AB1}" srcId="{455C7050-1816-4F48-8137-089F75DCC4D1}" destId="{6B18C4C1-B91A-43CC-BAE6-BCF1D97F8FF1}" srcOrd="1" destOrd="0" parTransId="{307195AE-2FD3-42A8-9E7C-BF435BF82A39}" sibTransId="{327B1A75-1710-4F59-B9BD-F05A6DDA723C}"/>
    <dgm:cxn modelId="{421EA9E0-2DC9-46CC-A3C4-835AC61B9BEF}" type="presParOf" srcId="{D3CBCC7D-C01A-4941-80CB-5C7B55B8B1BE}" destId="{389C90E9-1622-49BB-A182-28FAD8B80E3C}" srcOrd="0" destOrd="0" presId="urn:microsoft.com/office/officeart/2005/8/layout/vList2"/>
    <dgm:cxn modelId="{67BB2E8C-4E01-4B80-83B3-6E9ACECC4BB4}" type="presParOf" srcId="{D3CBCC7D-C01A-4941-80CB-5C7B55B8B1BE}" destId="{C4D172BD-3A27-46B8-886B-891BF3BE8CB8}" srcOrd="1" destOrd="0" presId="urn:microsoft.com/office/officeart/2005/8/layout/vList2"/>
    <dgm:cxn modelId="{23937501-D582-4ADD-B72B-F300A0C32D92}" type="presParOf" srcId="{D3CBCC7D-C01A-4941-80CB-5C7B55B8B1BE}" destId="{5DD6315D-A3AF-4A66-B6E1-1F576C5DD880}" srcOrd="2" destOrd="0" presId="urn:microsoft.com/office/officeart/2005/8/layout/vList2"/>
    <dgm:cxn modelId="{FE60F8A2-AB64-461C-90C8-C3ED612662B7}" type="presParOf" srcId="{D3CBCC7D-C01A-4941-80CB-5C7B55B8B1BE}" destId="{49F8B814-6CBE-4CAF-B0B6-2B5768970CEB}" srcOrd="3" destOrd="0" presId="urn:microsoft.com/office/officeart/2005/8/layout/vList2"/>
    <dgm:cxn modelId="{FBCAD441-CECF-47E8-8C3A-EB0AECDB85E1}" type="presParOf" srcId="{D3CBCC7D-C01A-4941-80CB-5C7B55B8B1BE}" destId="{CB7BEE8D-BC86-4209-BE73-55173F086263}" srcOrd="4" destOrd="0" presId="urn:microsoft.com/office/officeart/2005/8/layout/vList2"/>
    <dgm:cxn modelId="{B75C2454-2C3F-4B03-8E63-AF24C8065D41}" type="presParOf" srcId="{D3CBCC7D-C01A-4941-80CB-5C7B55B8B1BE}" destId="{89DE0FF6-00AD-4E7B-A269-DE37D9E8D85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ln>
          <a:solidFill>
            <a:srgbClr val="D83B01"/>
          </a:solidFill>
        </a:ln>
      </dgm:spPr>
      <dgm:t>
        <a:bodyPr/>
        <a:lstStyle/>
        <a:p>
          <a:r>
            <a:rPr lang="en-US" sz="2000">
              <a:solidFill>
                <a:srgbClr val="FFFFFF"/>
              </a:solidFill>
            </a:rPr>
            <a:t>Connection</a:t>
          </a:r>
          <a:endParaRPr lang="pt-PT" sz="2000" dirty="0">
            <a:solidFill>
              <a:srgbClr val="FFFFFF"/>
            </a:solidFill>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chemeClr val="bg2"/>
        </a:solidFill>
      </dgm:spPr>
      <dgm:t>
        <a:bodyPr/>
        <a:lstStyle/>
        <a:p>
          <a:r>
            <a:rPr lang="en-US" sz="2000" dirty="0">
              <a:solidFill>
                <a:schemeClr val="tx1"/>
              </a:solidFill>
            </a:rPr>
            <a:t>Session</a:t>
          </a:r>
          <a:endParaRPr lang="pt-PT" sz="2000" dirty="0">
            <a:solidFill>
              <a:schemeClr val="tx1"/>
            </a:solidFill>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chemeClr val="bg2"/>
        </a:solidFill>
      </dgm:spPr>
      <dgm:t>
        <a:bodyPr/>
        <a:lstStyle/>
        <a:p>
          <a:r>
            <a:rPr lang="en-US" sz="2000">
              <a:solidFill>
                <a:schemeClr val="tx1"/>
              </a:solidFill>
            </a:rPr>
            <a:t>Request</a:t>
          </a:r>
          <a:br>
            <a:rPr lang="en-US" sz="2000">
              <a:solidFill>
                <a:schemeClr val="tx1"/>
              </a:solidFill>
            </a:rPr>
          </a:br>
          <a:r>
            <a:rPr lang="en-US" sz="2000">
              <a:solidFill>
                <a:schemeClr val="tx1"/>
              </a:solidFill>
            </a:rPr>
            <a:t>(Batch)</a:t>
          </a:r>
          <a:endParaRPr lang="pt-PT" sz="2000" dirty="0">
            <a:solidFill>
              <a:schemeClr val="tx1"/>
            </a:solidFill>
          </a:endParaRPr>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chemeClr val="bg2"/>
        </a:solidFill>
      </dgm:spPr>
      <dgm:t>
        <a:bodyPr/>
        <a:lstStyle/>
        <a:p>
          <a:r>
            <a:rPr lang="en-US" sz="2000">
              <a:solidFill>
                <a:schemeClr val="tx1"/>
              </a:solidFill>
            </a:rPr>
            <a:t>Task</a:t>
          </a:r>
          <a:endParaRPr lang="pt-PT" sz="2000" dirty="0">
            <a:solidFill>
              <a:schemeClr val="tx1"/>
            </a:solidFill>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chemeClr val="bg2"/>
        </a:solidFill>
      </dgm:spPr>
      <dgm:t>
        <a:bodyPr/>
        <a:lstStyle/>
        <a:p>
          <a:r>
            <a:rPr lang="en-US" sz="2000">
              <a:solidFill>
                <a:schemeClr val="tx1"/>
              </a:solidFill>
            </a:rPr>
            <a:t>Worker</a:t>
          </a:r>
          <a:endParaRPr lang="pt-PT" sz="2000" dirty="0">
            <a:solidFill>
              <a:schemeClr val="tx1"/>
            </a:solidFill>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ln>
          <a:solidFill>
            <a:srgbClr val="D83B01"/>
          </a:solidFill>
        </a:ln>
      </dgm:spPr>
      <dgm:t>
        <a:bodyPr/>
        <a:lstStyle/>
        <a:p>
          <a:r>
            <a:rPr lang="en-US" sz="2000" dirty="0"/>
            <a:t>Session</a:t>
          </a:r>
          <a:endParaRPr lang="pt-PT" sz="2000" dirty="0"/>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dirty="0"/>
            <a:t>Request</a:t>
          </a:r>
          <a:br>
            <a:rPr lang="en-US" sz="2000" dirty="0"/>
          </a:br>
          <a:r>
            <a:rPr lang="en-US" sz="2000" dirty="0"/>
            <a:t>(Batch)</a:t>
          </a:r>
          <a:endParaRPr lang="pt-PT" sz="2000" dirty="0"/>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a:xfrm>
          <a:off x="4484888" y="659788"/>
          <a:ext cx="1920727" cy="879718"/>
        </a:xfrm>
        <a:prstGeom prst="roundRect">
          <a:avLst/>
        </a:prstGeom>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a:xfrm>
          <a:off x="6725737" y="659788"/>
          <a:ext cx="1920727" cy="879718"/>
        </a:xfrm>
        <a:prstGeom prst="roundRect">
          <a:avLst/>
        </a:prstGeom>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a:xfrm>
          <a:off x="8966585" y="659788"/>
          <a:ext cx="1920727" cy="879718"/>
        </a:xfrm>
        <a:prstGeom prst="roundRect">
          <a:avLst/>
        </a:prstGeom>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ln>
          <a:solidFill>
            <a:srgbClr val="D83B01"/>
          </a:solidFill>
        </a:ln>
      </dgm:spPr>
      <dgm:t>
        <a:bodyPr/>
        <a:lstStyle/>
        <a:p>
          <a:r>
            <a:rPr lang="en-US" sz="2000" dirty="0"/>
            <a:t>Request</a:t>
          </a:r>
          <a:br>
            <a:rPr lang="en-US" sz="2000" dirty="0"/>
          </a:br>
          <a:r>
            <a:rPr lang="en-US" sz="2000" dirty="0"/>
            <a:t>(Batch)</a:t>
          </a:r>
          <a:endParaRPr lang="pt-PT" sz="2000" dirty="0"/>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Task</a:t>
          </a:r>
          <a:endParaRPr lang="pt-PT" sz="2000" kern="1200" dirty="0">
            <a:solidFill>
              <a:srgbClr val="000000"/>
            </a:solidFill>
            <a:latin typeface="Segoe UI"/>
            <a:ea typeface="+mn-ea"/>
            <a:cs typeface="+mn-cs"/>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a:xfrm>
          <a:off x="2244039" y="659788"/>
          <a:ext cx="1920727" cy="879718"/>
        </a:xfrm>
        <a:prstGeom prst="roundRect">
          <a:avLst/>
        </a:prstGeom>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a:xfrm>
          <a:off x="6725737" y="659788"/>
          <a:ext cx="1920727" cy="879718"/>
        </a:xfrm>
        <a:prstGeom prst="roundRect">
          <a:avLst/>
        </a:prstGeom>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a:xfrm>
          <a:off x="8966585" y="659788"/>
          <a:ext cx="1920727" cy="879718"/>
        </a:xfrm>
        <a:prstGeom prst="roundRect">
          <a:avLst/>
        </a:prstGeom>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Session</a:t>
          </a:r>
          <a:endParaRPr lang="pt-PT" sz="2000" kern="1200">
            <a:solidFill>
              <a:srgbClr val="000000"/>
            </a:solidFill>
            <a:latin typeface="Segoe UI"/>
            <a:ea typeface="+mn-ea"/>
            <a:cs typeface="+mn-cs"/>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ln>
          <a:solidFill>
            <a:srgbClr val="D83B01"/>
          </a:solidFill>
        </a:ln>
      </dgm:spPr>
      <dgm:t>
        <a:bodyPr/>
        <a:lstStyle/>
        <a:p>
          <a:r>
            <a:rPr lang="en-US" sz="2000" dirty="0"/>
            <a:t>Task</a:t>
          </a:r>
          <a:endParaRPr lang="pt-PT" sz="2000" dirty="0"/>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Worker</a:t>
          </a:r>
          <a:endParaRPr lang="pt-PT" sz="2000" kern="1200" dirty="0">
            <a:solidFill>
              <a:srgbClr val="000000"/>
            </a:solidFill>
            <a:latin typeface="Segoe UI"/>
            <a:ea typeface="+mn-ea"/>
            <a:cs typeface="+mn-cs"/>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a:xfrm>
          <a:off x="2244039" y="659788"/>
          <a:ext cx="1920727" cy="879718"/>
        </a:xfrm>
        <a:prstGeom prst="roundRect">
          <a:avLst/>
        </a:prstGeom>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a:xfrm>
          <a:off x="4484888" y="659788"/>
          <a:ext cx="1920727" cy="879718"/>
        </a:xfrm>
        <a:prstGeom prst="roundRect">
          <a:avLst/>
        </a:prstGeom>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a:xfrm>
          <a:off x="8966585" y="659788"/>
          <a:ext cx="1920727" cy="879718"/>
        </a:xfrm>
        <a:prstGeom prst="roundRect">
          <a:avLst/>
        </a:prstGeom>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ln>
          <a:solidFill>
            <a:srgbClr val="D83B01"/>
          </a:solidFill>
        </a:ln>
      </dgm:spPr>
      <dgm:t>
        <a:bodyPr/>
        <a:lstStyle/>
        <a:p>
          <a:r>
            <a:rPr lang="en-US" sz="2000" dirty="0"/>
            <a:t>Worker</a:t>
          </a:r>
          <a:endParaRPr lang="pt-PT" sz="2000" dirty="0"/>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a:xfrm>
          <a:off x="2244039" y="659788"/>
          <a:ext cx="1920727" cy="879718"/>
        </a:xfrm>
        <a:prstGeom prst="roundRect">
          <a:avLst/>
        </a:prstGeom>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a:xfrm>
          <a:off x="4484888" y="659788"/>
          <a:ext cx="1920727" cy="879718"/>
        </a:xfrm>
        <a:prstGeom prst="roundRect">
          <a:avLst/>
        </a:prstGeom>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a:xfrm>
          <a:off x="6725737" y="659788"/>
          <a:ext cx="1920727" cy="879718"/>
        </a:xfrm>
        <a:prstGeom prst="roundRect">
          <a:avLst/>
        </a:prstGeom>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C1CE2C-8281-4680-B20A-F4384783D7A9}">
      <dsp:nvSpPr>
        <dsp:cNvPr id="0" name=""/>
        <dsp:cNvSpPr/>
      </dsp:nvSpPr>
      <dsp:spPr>
        <a:xfrm>
          <a:off x="0" y="569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Application layer between Microsoft SQL Server components and the Windows Operating System.</a:t>
          </a:r>
          <a:endParaRPr lang="en-US" sz="2000" kern="1200" dirty="0"/>
        </a:p>
      </dsp:txBody>
      <dsp:txXfrm>
        <a:off x="41465" y="47158"/>
        <a:ext cx="10797796" cy="766490"/>
      </dsp:txXfrm>
    </dsp:sp>
    <dsp:sp modelId="{70A4E46F-F7D1-41A2-8155-8CEB0C66CEAB}">
      <dsp:nvSpPr>
        <dsp:cNvPr id="0" name=""/>
        <dsp:cNvSpPr/>
      </dsp:nvSpPr>
      <dsp:spPr>
        <a:xfrm>
          <a:off x="0" y="91847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entralizes resource allocation to provide more efficient management and accounting.</a:t>
          </a:r>
          <a:endParaRPr lang="en-US" sz="2000" kern="1200"/>
        </a:p>
      </dsp:txBody>
      <dsp:txXfrm>
        <a:off x="41465" y="959938"/>
        <a:ext cx="10797796" cy="766490"/>
      </dsp:txXfrm>
    </dsp:sp>
    <dsp:sp modelId="{8F6557ED-EA5A-4C57-BD7E-815F3B29B97F}">
      <dsp:nvSpPr>
        <dsp:cNvPr id="0" name=""/>
        <dsp:cNvSpPr/>
      </dsp:nvSpPr>
      <dsp:spPr>
        <a:xfrm>
          <a:off x="0" y="183125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The SQLOS is used by the SQL Server relational database engine for system-level services.</a:t>
          </a:r>
          <a:endParaRPr lang="en-US" sz="2000" kern="1200" dirty="0"/>
        </a:p>
      </dsp:txBody>
      <dsp:txXfrm>
        <a:off x="41465" y="1872718"/>
        <a:ext cx="10797796" cy="766490"/>
      </dsp:txXfrm>
    </dsp:sp>
    <dsp:sp modelId="{12C92250-5AAC-404E-836C-E71243683BFE}">
      <dsp:nvSpPr>
        <dsp:cNvPr id="0" name=""/>
        <dsp:cNvSpPr/>
      </dsp:nvSpPr>
      <dsp:spPr>
        <a:xfrm>
          <a:off x="0" y="274403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Abstracts the concepts of resource management from components, providing:</a:t>
          </a:r>
          <a:endParaRPr lang="en-US" sz="2000" kern="1200"/>
        </a:p>
      </dsp:txBody>
      <dsp:txXfrm>
        <a:off x="41465" y="2785498"/>
        <a:ext cx="10797796" cy="766490"/>
      </dsp:txXfrm>
    </dsp:sp>
    <dsp:sp modelId="{776B8DDC-FCA5-4A7B-8C53-01F47D0BFE82}">
      <dsp:nvSpPr>
        <dsp:cNvPr id="0" name=""/>
        <dsp:cNvSpPr/>
      </dsp:nvSpPr>
      <dsp:spPr>
        <a:xfrm>
          <a:off x="0" y="3593454"/>
          <a:ext cx="10880726" cy="1593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b="1" kern="1200" baseline="0"/>
            <a:t>Scheduling and synchronization support</a:t>
          </a:r>
          <a:endParaRPr lang="en-US" sz="1700" kern="1200"/>
        </a:p>
        <a:p>
          <a:pPr marL="171450" lvl="1" indent="-171450" algn="l" defTabSz="755650">
            <a:lnSpc>
              <a:spcPct val="90000"/>
            </a:lnSpc>
            <a:spcBef>
              <a:spcPct val="0"/>
            </a:spcBef>
            <a:spcAft>
              <a:spcPct val="20000"/>
            </a:spcAft>
            <a:buChar char="•"/>
          </a:pPr>
          <a:r>
            <a:rPr lang="en-US" sz="1700" b="1" kern="1200" baseline="0"/>
            <a:t>Memory management and caching</a:t>
          </a:r>
          <a:endParaRPr lang="en-US" sz="1700" kern="1200"/>
        </a:p>
        <a:p>
          <a:pPr marL="171450" lvl="1" indent="-171450" algn="l" defTabSz="755650">
            <a:lnSpc>
              <a:spcPct val="90000"/>
            </a:lnSpc>
            <a:spcBef>
              <a:spcPct val="0"/>
            </a:spcBef>
            <a:spcAft>
              <a:spcPct val="20000"/>
            </a:spcAft>
            <a:buChar char="•"/>
          </a:pPr>
          <a:r>
            <a:rPr lang="en-US" sz="1700" b="1" kern="1200" baseline="0"/>
            <a:t>Resource governance</a:t>
          </a:r>
          <a:endParaRPr lang="en-US" sz="1700" kern="1200"/>
        </a:p>
        <a:p>
          <a:pPr marL="171450" lvl="1" indent="-171450" algn="l" defTabSz="755650">
            <a:lnSpc>
              <a:spcPct val="90000"/>
            </a:lnSpc>
            <a:spcBef>
              <a:spcPct val="0"/>
            </a:spcBef>
            <a:spcAft>
              <a:spcPct val="20000"/>
            </a:spcAft>
            <a:buChar char="•"/>
          </a:pPr>
          <a:r>
            <a:rPr lang="en-US" sz="1700" b="1" kern="1200" baseline="0"/>
            <a:t>Diagnostics and debug infrastructure</a:t>
          </a:r>
          <a:endParaRPr lang="en-US" sz="1700" kern="1200"/>
        </a:p>
        <a:p>
          <a:pPr marL="171450" lvl="1" indent="-171450" algn="l" defTabSz="755650">
            <a:lnSpc>
              <a:spcPct val="90000"/>
            </a:lnSpc>
            <a:spcBef>
              <a:spcPct val="0"/>
            </a:spcBef>
            <a:spcAft>
              <a:spcPct val="20000"/>
            </a:spcAft>
            <a:buChar char="•"/>
          </a:pPr>
          <a:r>
            <a:rPr lang="en-US" sz="1700" b="1" kern="1200" baseline="0"/>
            <a:t>Scalability and performance optimization</a:t>
          </a:r>
          <a:endParaRPr lang="en-US" sz="1700" kern="1200"/>
        </a:p>
      </dsp:txBody>
      <dsp:txXfrm>
        <a:off x="0" y="3593454"/>
        <a:ext cx="10880726" cy="15939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C8B9F4-C07B-4BDB-9B02-274228176F65}">
      <dsp:nvSpPr>
        <dsp:cNvPr id="0" name=""/>
        <dsp:cNvSpPr/>
      </dsp:nvSpPr>
      <dsp:spPr>
        <a:xfrm>
          <a:off x="53" y="1567"/>
          <a:ext cx="5084401" cy="13248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t-PT" sz="2400" b="1" kern="1200" baseline="0" dirty="0"/>
            <a:t>Non-Preemptive (Cooperative)</a:t>
          </a:r>
          <a:endParaRPr lang="en-US" sz="2400" kern="1200" dirty="0"/>
        </a:p>
      </dsp:txBody>
      <dsp:txXfrm>
        <a:off x="53" y="1567"/>
        <a:ext cx="5084401" cy="1324800"/>
      </dsp:txXfrm>
    </dsp:sp>
    <dsp:sp modelId="{9FA56444-34EE-48AD-9C14-1833291B460E}">
      <dsp:nvSpPr>
        <dsp:cNvPr id="0" name=""/>
        <dsp:cNvSpPr/>
      </dsp:nvSpPr>
      <dsp:spPr>
        <a:xfrm>
          <a:off x="53" y="1326367"/>
          <a:ext cx="5084401" cy="380191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SQL Server manages CPU scheduling for most activity (instead of the operating system).</a:t>
          </a:r>
          <a:endParaRPr lang="en-US" sz="2400" kern="1200" dirty="0"/>
        </a:p>
        <a:p>
          <a:pPr marL="228600" lvl="1" indent="-228600" algn="l" defTabSz="1066800">
            <a:lnSpc>
              <a:spcPct val="90000"/>
            </a:lnSpc>
            <a:spcBef>
              <a:spcPct val="0"/>
            </a:spcBef>
            <a:spcAft>
              <a:spcPct val="15000"/>
            </a:spcAft>
            <a:buChar char="•"/>
          </a:pPr>
          <a:r>
            <a:rPr lang="en-US" sz="2400" kern="1200" baseline="0" dirty="0"/>
            <a:t>SQL Server decides when a thread should wait or get switched out (known as yielding).</a:t>
          </a:r>
          <a:endParaRPr lang="en-US" sz="2400" kern="1200" dirty="0"/>
        </a:p>
      </dsp:txBody>
      <dsp:txXfrm>
        <a:off x="53" y="1326367"/>
        <a:ext cx="5084401" cy="3801910"/>
      </dsp:txXfrm>
    </dsp:sp>
    <dsp:sp modelId="{A1C057C1-A8F1-4BFB-83F1-EF0CC59B6251}">
      <dsp:nvSpPr>
        <dsp:cNvPr id="0" name=""/>
        <dsp:cNvSpPr/>
      </dsp:nvSpPr>
      <dsp:spPr>
        <a:xfrm>
          <a:off x="5796271" y="1567"/>
          <a:ext cx="5084401" cy="13248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baseline="0" dirty="0"/>
            <a:t>Preemptive</a:t>
          </a:r>
          <a:r>
            <a:rPr lang="en-US" sz="2800" kern="1200" baseline="0" dirty="0"/>
            <a:t> </a:t>
          </a:r>
          <a:endParaRPr lang="en-US" sz="2800" kern="1200" dirty="0"/>
        </a:p>
      </dsp:txBody>
      <dsp:txXfrm>
        <a:off x="5796271" y="1567"/>
        <a:ext cx="5084401" cy="1324800"/>
      </dsp:txXfrm>
    </dsp:sp>
    <dsp:sp modelId="{669EB5CF-7E72-43BF-A8B8-27435BB06C03}">
      <dsp:nvSpPr>
        <dsp:cNvPr id="0" name=""/>
        <dsp:cNvSpPr/>
      </dsp:nvSpPr>
      <dsp:spPr>
        <a:xfrm>
          <a:off x="5796271" y="1326367"/>
          <a:ext cx="5084401" cy="3801910"/>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Preemption is the act of an operating system temporarily interrupting an executing task.</a:t>
          </a:r>
          <a:endParaRPr lang="en-US" sz="2400" kern="1200" dirty="0"/>
        </a:p>
        <a:p>
          <a:pPr marL="228600" lvl="1" indent="-228600" algn="l" defTabSz="1066800">
            <a:lnSpc>
              <a:spcPct val="90000"/>
            </a:lnSpc>
            <a:spcBef>
              <a:spcPct val="0"/>
            </a:spcBef>
            <a:spcAft>
              <a:spcPct val="15000"/>
            </a:spcAft>
            <a:buChar char="•"/>
          </a:pPr>
          <a:r>
            <a:rPr lang="en-US" sz="2400" kern="1200" baseline="0" dirty="0"/>
            <a:t>Higher priority tasks can preempt lower priority tasks.</a:t>
          </a:r>
          <a:endParaRPr lang="en-US" sz="2400" kern="1200" dirty="0"/>
        </a:p>
        <a:p>
          <a:pPr marL="228600" lvl="1" indent="-228600" algn="l" defTabSz="1066800">
            <a:lnSpc>
              <a:spcPct val="90000"/>
            </a:lnSpc>
            <a:spcBef>
              <a:spcPct val="0"/>
            </a:spcBef>
            <a:spcAft>
              <a:spcPct val="15000"/>
            </a:spcAft>
            <a:buChar char="•"/>
          </a:pPr>
          <a:r>
            <a:rPr lang="en-US" sz="2400" kern="1200" dirty="0">
              <a:latin typeface="Segoe UI"/>
              <a:ea typeface="+mn-ea"/>
              <a:cs typeface="+mn-cs"/>
            </a:rPr>
            <a:t>Preemptive mode used in SQL Server for external code calls, CLR with an UNSAFE assemblies, extended stored procedures</a:t>
          </a:r>
          <a:endParaRPr lang="en-US" sz="2400" kern="1200" dirty="0"/>
        </a:p>
      </dsp:txBody>
      <dsp:txXfrm>
        <a:off x="5796271" y="1326367"/>
        <a:ext cx="5084401" cy="380191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538EA-FD32-4F11-98AF-48E41511D9CC}">
      <dsp:nvSpPr>
        <dsp:cNvPr id="0" name=""/>
        <dsp:cNvSpPr/>
      </dsp:nvSpPr>
      <dsp:spPr>
        <a:xfrm>
          <a:off x="0" y="199677"/>
          <a:ext cx="3400226" cy="204013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One SQLOS Scheduler per core/logical processor</a:t>
          </a:r>
          <a:endParaRPr lang="en-US" sz="2400" kern="1200"/>
        </a:p>
      </dsp:txBody>
      <dsp:txXfrm>
        <a:off x="0" y="199677"/>
        <a:ext cx="3400226" cy="2040135"/>
      </dsp:txXfrm>
    </dsp:sp>
    <dsp:sp modelId="{A72C4992-5AAD-470C-B2FF-7DC5FE70ADD1}">
      <dsp:nvSpPr>
        <dsp:cNvPr id="0" name=""/>
        <dsp:cNvSpPr/>
      </dsp:nvSpPr>
      <dsp:spPr>
        <a:xfrm>
          <a:off x="3740249" y="199677"/>
          <a:ext cx="3400226" cy="2040135"/>
        </a:xfrm>
        <a:prstGeom prst="rect">
          <a:avLst/>
        </a:prstGeom>
        <a:solidFill>
          <a:schemeClr val="accent3">
            <a:hueOff val="504467"/>
            <a:satOff val="0"/>
            <a:lumOff val="2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Handles scheduling tasks, I/O, and synchronization of resources</a:t>
          </a:r>
          <a:endParaRPr lang="en-US" sz="2400" kern="1200"/>
        </a:p>
      </dsp:txBody>
      <dsp:txXfrm>
        <a:off x="3740249" y="199677"/>
        <a:ext cx="3400226" cy="2040135"/>
      </dsp:txXfrm>
    </dsp:sp>
    <dsp:sp modelId="{FB3AD4C2-E22E-4317-B905-CE6A7772C3A5}">
      <dsp:nvSpPr>
        <dsp:cNvPr id="0" name=""/>
        <dsp:cNvSpPr/>
      </dsp:nvSpPr>
      <dsp:spPr>
        <a:xfrm>
          <a:off x="7480498" y="199677"/>
          <a:ext cx="3400226" cy="2040135"/>
        </a:xfrm>
        <a:prstGeom prst="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Work requests are balanced across schedulers based on the number of active tasks</a:t>
          </a:r>
          <a:endParaRPr lang="en-US" sz="2400" kern="1200"/>
        </a:p>
      </dsp:txBody>
      <dsp:txXfrm>
        <a:off x="7480498" y="199677"/>
        <a:ext cx="3400226" cy="2040135"/>
      </dsp:txXfrm>
    </dsp:sp>
    <dsp:sp modelId="{B9E35828-9A64-4DC0-9438-F07756C8E595}">
      <dsp:nvSpPr>
        <dsp:cNvPr id="0" name=""/>
        <dsp:cNvSpPr/>
      </dsp:nvSpPr>
      <dsp:spPr>
        <a:xfrm>
          <a:off x="1870124" y="2579836"/>
          <a:ext cx="3400226" cy="2040135"/>
        </a:xfrm>
        <a:prstGeom prst="rect">
          <a:avLst/>
        </a:prstGeom>
        <a:solidFill>
          <a:schemeClr val="accent3">
            <a:hueOff val="1513402"/>
            <a:satOff val="0"/>
            <a:lumOff val="7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Monitor using sys.dm_os_schedulers</a:t>
          </a:r>
          <a:endParaRPr lang="en-US" sz="2400" kern="1200"/>
        </a:p>
      </dsp:txBody>
      <dsp:txXfrm>
        <a:off x="1870124" y="2579836"/>
        <a:ext cx="3400226" cy="2040135"/>
      </dsp:txXfrm>
    </dsp:sp>
    <dsp:sp modelId="{063A8F42-5A6C-4304-B66C-D62440FA3426}">
      <dsp:nvSpPr>
        <dsp:cNvPr id="0" name=""/>
        <dsp:cNvSpPr/>
      </dsp:nvSpPr>
      <dsp:spPr>
        <a:xfrm>
          <a:off x="5610373" y="2579836"/>
          <a:ext cx="3400226" cy="2040135"/>
        </a:xfrm>
        <a:prstGeom prst="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Worker Migration – better use of schedulers in SQL Server 2019</a:t>
          </a:r>
          <a:endParaRPr lang="en-US" sz="2400" kern="1200"/>
        </a:p>
      </dsp:txBody>
      <dsp:txXfrm>
        <a:off x="5610373" y="2579836"/>
        <a:ext cx="3400226" cy="204013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511CA-C1BF-4295-803C-896FFFAB8E86}">
      <dsp:nvSpPr>
        <dsp:cNvPr id="0" name=""/>
        <dsp:cNvSpPr/>
      </dsp:nvSpPr>
      <dsp:spPr>
        <a:xfrm>
          <a:off x="0" y="424540"/>
          <a:ext cx="10880725" cy="1498877"/>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QL Server using a cooperative model to ensure its CPU resources are shared amongst all the threads that are in a runnable state, preventing the ‘starving’ condition of any individual thread.</a:t>
          </a:r>
          <a:endParaRPr lang="en-US" sz="2400" kern="1200" dirty="0"/>
        </a:p>
      </dsp:txBody>
      <dsp:txXfrm>
        <a:off x="73169" y="497709"/>
        <a:ext cx="10734387" cy="1352539"/>
      </dsp:txXfrm>
    </dsp:sp>
    <dsp:sp modelId="{120AC486-8256-4CD8-9379-BBA629250A3E}">
      <dsp:nvSpPr>
        <dsp:cNvPr id="0" name=""/>
        <dsp:cNvSpPr/>
      </dsp:nvSpPr>
      <dsp:spPr>
        <a:xfrm>
          <a:off x="0" y="1935399"/>
          <a:ext cx="10880725" cy="100639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n SQL Server, each thread is assigned a quantum (duration 4ms).</a:t>
          </a:r>
          <a:endParaRPr lang="en-US" sz="2400" kern="1200" dirty="0"/>
        </a:p>
      </dsp:txBody>
      <dsp:txXfrm>
        <a:off x="49128" y="1984527"/>
        <a:ext cx="10782469" cy="908134"/>
      </dsp:txXfrm>
    </dsp:sp>
    <dsp:sp modelId="{6EE0CC8D-0EEA-4B31-A639-4B6CFFB3C858}">
      <dsp:nvSpPr>
        <dsp:cNvPr id="0" name=""/>
        <dsp:cNvSpPr/>
      </dsp:nvSpPr>
      <dsp:spPr>
        <a:xfrm>
          <a:off x="0" y="2953770"/>
          <a:ext cx="10880725" cy="100639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By design, a worker owns the scheduler until it yields to another worker on the same scheduler.</a:t>
          </a:r>
          <a:endParaRPr lang="en-US" sz="2400" kern="1200" dirty="0"/>
        </a:p>
      </dsp:txBody>
      <dsp:txXfrm>
        <a:off x="49128" y="3002898"/>
        <a:ext cx="10782469" cy="908134"/>
      </dsp:txXfrm>
    </dsp:sp>
    <dsp:sp modelId="{EC126341-CE69-4EE0-8D2D-5210154866F5}">
      <dsp:nvSpPr>
        <dsp:cNvPr id="0" name=""/>
        <dsp:cNvSpPr/>
      </dsp:nvSpPr>
      <dsp:spPr>
        <a:xfrm>
          <a:off x="0" y="3972142"/>
          <a:ext cx="10880725" cy="1187641"/>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When no worker is currently on the Runnable list, the </a:t>
          </a:r>
          <a:r>
            <a:rPr lang="en-US" sz="2400" b="1" kern="1200" baseline="0" dirty="0"/>
            <a:t>yielding worker is allowed another quantum</a:t>
          </a:r>
          <a:r>
            <a:rPr lang="en-US" sz="2400" kern="1200" baseline="0" dirty="0"/>
            <a:t> or performs the necessary idle scheduler maintenance.</a:t>
          </a:r>
          <a:endParaRPr lang="en-US" sz="2400" kern="1200" dirty="0"/>
        </a:p>
      </dsp:txBody>
      <dsp:txXfrm>
        <a:off x="57976" y="4030118"/>
        <a:ext cx="10764773" cy="107168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D9A8C-3E0A-4D13-A7FE-D583CD7C92AF}">
      <dsp:nvSpPr>
        <dsp:cNvPr id="0" name=""/>
        <dsp:cNvSpPr/>
      </dsp:nvSpPr>
      <dsp:spPr>
        <a:xfrm>
          <a:off x="0" y="727858"/>
          <a:ext cx="11353304" cy="1216800"/>
        </a:xfrm>
        <a:prstGeom prst="roundRect">
          <a:avLst/>
        </a:prstGeom>
        <a:solidFill>
          <a:schemeClr val="lt1">
            <a:hueOff val="0"/>
            <a:satOff val="0"/>
            <a:lumOff val="0"/>
            <a:alphaOff val="0"/>
          </a:schemeClr>
        </a:solidFill>
        <a:ln w="19050" cap="flat" cmpd="sng" algn="ctr">
          <a:solidFill>
            <a:schemeClr val="dk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b="1" kern="1200" dirty="0"/>
            <a:t>Runnable: </a:t>
          </a:r>
          <a:r>
            <a:rPr lang="en-GB" sz="2800" b="0" kern="1200" dirty="0"/>
            <a:t>The thread is currently in the Runnable Queue waiting to execute. (First In, First Out). </a:t>
          </a:r>
          <a:endParaRPr lang="en-US" sz="2800" kern="1200" dirty="0"/>
        </a:p>
      </dsp:txBody>
      <dsp:txXfrm>
        <a:off x="59399" y="787257"/>
        <a:ext cx="11234506" cy="1098002"/>
      </dsp:txXfrm>
    </dsp:sp>
    <dsp:sp modelId="{6B847B8C-D7F0-4974-8DFF-2B5BA70AB85F}">
      <dsp:nvSpPr>
        <dsp:cNvPr id="0" name=""/>
        <dsp:cNvSpPr/>
      </dsp:nvSpPr>
      <dsp:spPr>
        <a:xfrm>
          <a:off x="0" y="2131859"/>
          <a:ext cx="11353304" cy="1216800"/>
        </a:xfrm>
        <a:prstGeom prst="roundRect">
          <a:avLst/>
        </a:prstGeom>
        <a:solidFill>
          <a:schemeClr val="lt1">
            <a:hueOff val="0"/>
            <a:satOff val="0"/>
            <a:lumOff val="0"/>
            <a:alphaOff val="0"/>
          </a:schemeClr>
        </a:solidFill>
        <a:ln w="19050" cap="flat" cmpd="sng" algn="ctr">
          <a:solidFill>
            <a:schemeClr val="dk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b="1" kern="1200" dirty="0"/>
            <a:t>Running: </a:t>
          </a:r>
          <a:r>
            <a:rPr lang="en-GB" sz="2800" kern="1200" dirty="0"/>
            <a:t>One active thread executing on a processor. </a:t>
          </a:r>
          <a:endParaRPr lang="en-US" sz="2800" kern="1200" dirty="0"/>
        </a:p>
      </dsp:txBody>
      <dsp:txXfrm>
        <a:off x="59399" y="2191258"/>
        <a:ext cx="11234506" cy="1098002"/>
      </dsp:txXfrm>
    </dsp:sp>
    <dsp:sp modelId="{C33A9ECD-F177-41F7-B563-4EDE05550E66}">
      <dsp:nvSpPr>
        <dsp:cNvPr id="0" name=""/>
        <dsp:cNvSpPr/>
      </dsp:nvSpPr>
      <dsp:spPr>
        <a:xfrm>
          <a:off x="0" y="3535859"/>
          <a:ext cx="11353304" cy="1216800"/>
        </a:xfrm>
        <a:prstGeom prst="roundRect">
          <a:avLst/>
        </a:prstGeom>
        <a:solidFill>
          <a:schemeClr val="lt1">
            <a:hueOff val="0"/>
            <a:satOff val="0"/>
            <a:lumOff val="0"/>
            <a:alphaOff val="0"/>
          </a:schemeClr>
        </a:solidFill>
        <a:ln w="19050" cap="flat" cmpd="sng" algn="ctr">
          <a:solidFill>
            <a:schemeClr val="dk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b="1" kern="1200" dirty="0"/>
            <a:t>Suspended: </a:t>
          </a:r>
          <a:r>
            <a:rPr lang="en-GB" sz="2800" b="0" kern="1200" dirty="0"/>
            <a:t>Placed on a Waiter List waiting for a resource other than a processor. (No specific order).</a:t>
          </a:r>
          <a:endParaRPr lang="en-US" sz="2800" kern="1200" dirty="0"/>
        </a:p>
      </dsp:txBody>
      <dsp:txXfrm>
        <a:off x="59399" y="3595258"/>
        <a:ext cx="11234506" cy="109800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8393"/>
          <a:ext cx="10880725" cy="8611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ist three reasons a scheduler might yield?</a:t>
          </a:r>
        </a:p>
      </dsp:txBody>
      <dsp:txXfrm>
        <a:off x="42036" y="60429"/>
        <a:ext cx="10796653" cy="777048"/>
      </dsp:txXfrm>
    </dsp:sp>
    <dsp:sp modelId="{4A71D5C7-A7D6-46CE-B888-CF65241F6B98}">
      <dsp:nvSpPr>
        <dsp:cNvPr id="0" name=""/>
        <dsp:cNvSpPr/>
      </dsp:nvSpPr>
      <dsp:spPr>
        <a:xfrm>
          <a:off x="0" y="1011993"/>
          <a:ext cx="10880725" cy="8611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 quantum?</a:t>
          </a:r>
        </a:p>
      </dsp:txBody>
      <dsp:txXfrm>
        <a:off x="42036" y="1054029"/>
        <a:ext cx="10796653" cy="777048"/>
      </dsp:txXfrm>
    </dsp:sp>
    <dsp:sp modelId="{4CE6D622-6C4B-4912-A756-057BDFDF7259}">
      <dsp:nvSpPr>
        <dsp:cNvPr id="0" name=""/>
        <dsp:cNvSpPr/>
      </dsp:nvSpPr>
      <dsp:spPr>
        <a:xfrm>
          <a:off x="0" y="2005593"/>
          <a:ext cx="10880725" cy="8611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does SQL Server use cooperative scheduling?</a:t>
          </a:r>
        </a:p>
      </dsp:txBody>
      <dsp:txXfrm>
        <a:off x="42036" y="2047629"/>
        <a:ext cx="10796653" cy="77704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B37A8-CE14-4E1B-940F-3DD88250DA1A}">
      <dsp:nvSpPr>
        <dsp:cNvPr id="0" name=""/>
        <dsp:cNvSpPr/>
      </dsp:nvSpPr>
      <dsp:spPr>
        <a:xfrm>
          <a:off x="-5449264" y="-834379"/>
          <a:ext cx="6488409" cy="6488409"/>
        </a:xfrm>
        <a:prstGeom prst="blockArc">
          <a:avLst>
            <a:gd name="adj1" fmla="val 18900000"/>
            <a:gd name="adj2" fmla="val 2700000"/>
            <a:gd name="adj3" fmla="val 333"/>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7B6145-3C04-468A-A4C1-F34B906D01D1}">
      <dsp:nvSpPr>
        <dsp:cNvPr id="0" name=""/>
        <dsp:cNvSpPr/>
      </dsp:nvSpPr>
      <dsp:spPr>
        <a:xfrm>
          <a:off x="544010" y="370534"/>
          <a:ext cx="10269593" cy="74145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Troubleshooting methodology to identify resource bottlenecks.</a:t>
          </a:r>
          <a:endParaRPr lang="en-US" sz="2000" kern="1200"/>
        </a:p>
      </dsp:txBody>
      <dsp:txXfrm>
        <a:off x="544010" y="370534"/>
        <a:ext cx="10269593" cy="741454"/>
      </dsp:txXfrm>
    </dsp:sp>
    <dsp:sp modelId="{EA789D9B-79AF-40A6-8354-6E0DB3438074}">
      <dsp:nvSpPr>
        <dsp:cNvPr id="0" name=""/>
        <dsp:cNvSpPr/>
      </dsp:nvSpPr>
      <dsp:spPr>
        <a:xfrm>
          <a:off x="80601" y="277852"/>
          <a:ext cx="926818" cy="926818"/>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09AC65-467E-497D-BF7A-4AECAB2052C7}">
      <dsp:nvSpPr>
        <dsp:cNvPr id="0" name=""/>
        <dsp:cNvSpPr/>
      </dsp:nvSpPr>
      <dsp:spPr>
        <a:xfrm>
          <a:off x="969103" y="1482909"/>
          <a:ext cx="9844500" cy="741454"/>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SQL Server maintains the state in which workers wait.</a:t>
          </a:r>
          <a:endParaRPr lang="en-US" sz="2000" kern="1200"/>
        </a:p>
      </dsp:txBody>
      <dsp:txXfrm>
        <a:off x="969103" y="1482909"/>
        <a:ext cx="9844500" cy="741454"/>
      </dsp:txXfrm>
    </dsp:sp>
    <dsp:sp modelId="{D332BF79-271C-4DCB-A41E-A2BF0171722F}">
      <dsp:nvSpPr>
        <dsp:cNvPr id="0" name=""/>
        <dsp:cNvSpPr/>
      </dsp:nvSpPr>
      <dsp:spPr>
        <a:xfrm>
          <a:off x="505694" y="1390228"/>
          <a:ext cx="926818" cy="926818"/>
        </a:xfrm>
        <a:prstGeom prst="ellipse">
          <a:avLst/>
        </a:prstGeom>
        <a:solidFill>
          <a:schemeClr val="lt1">
            <a:hueOff val="0"/>
            <a:satOff val="0"/>
            <a:lumOff val="0"/>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4BBB36-A537-46B1-B432-E7720752E8BD}">
      <dsp:nvSpPr>
        <dsp:cNvPr id="0" name=""/>
        <dsp:cNvSpPr/>
      </dsp:nvSpPr>
      <dsp:spPr>
        <a:xfrm>
          <a:off x="969103" y="2595285"/>
          <a:ext cx="9844500" cy="741454"/>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Waits are represented by the SQL Server wait statistics; tracking waits over time.</a:t>
          </a:r>
          <a:endParaRPr lang="en-US" sz="2000" kern="1200"/>
        </a:p>
      </dsp:txBody>
      <dsp:txXfrm>
        <a:off x="969103" y="2595285"/>
        <a:ext cx="9844500" cy="741454"/>
      </dsp:txXfrm>
    </dsp:sp>
    <dsp:sp modelId="{9943A29A-0ADA-4AD0-BE2D-3C48E671F264}">
      <dsp:nvSpPr>
        <dsp:cNvPr id="0" name=""/>
        <dsp:cNvSpPr/>
      </dsp:nvSpPr>
      <dsp:spPr>
        <a:xfrm>
          <a:off x="505694" y="2502603"/>
          <a:ext cx="926818" cy="926818"/>
        </a:xfrm>
        <a:prstGeom prst="ellipse">
          <a:avLst/>
        </a:prstGeom>
        <a:solidFill>
          <a:schemeClr val="lt1">
            <a:hueOff val="0"/>
            <a:satOff val="0"/>
            <a:lumOff val="0"/>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A9F5AB-C6F5-4790-96FE-D7058348E63C}">
      <dsp:nvSpPr>
        <dsp:cNvPr id="0" name=""/>
        <dsp:cNvSpPr/>
      </dsp:nvSpPr>
      <dsp:spPr>
        <a:xfrm>
          <a:off x="544010" y="3707660"/>
          <a:ext cx="10269593" cy="741454"/>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Queues are represented by performance objects and counters.</a:t>
          </a:r>
          <a:endParaRPr lang="en-US" sz="2000" kern="1200"/>
        </a:p>
      </dsp:txBody>
      <dsp:txXfrm>
        <a:off x="544010" y="3707660"/>
        <a:ext cx="10269593" cy="741454"/>
      </dsp:txXfrm>
    </dsp:sp>
    <dsp:sp modelId="{B5724A4D-6C20-451A-A3A1-6E065DD4A618}">
      <dsp:nvSpPr>
        <dsp:cNvPr id="0" name=""/>
        <dsp:cNvSpPr/>
      </dsp:nvSpPr>
      <dsp:spPr>
        <a:xfrm>
          <a:off x="80601" y="3614978"/>
          <a:ext cx="926818" cy="926818"/>
        </a:xfrm>
        <a:prstGeom prst="ellipse">
          <a:avLst/>
        </a:prstGeom>
        <a:solidFill>
          <a:schemeClr val="lt1">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CD3441-280B-489E-B379-EB8804FAC69F}">
      <dsp:nvSpPr>
        <dsp:cNvPr id="0" name=""/>
        <dsp:cNvSpPr/>
      </dsp:nvSpPr>
      <dsp:spPr>
        <a:xfrm>
          <a:off x="1552150"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dirty="0"/>
            <a:t>Useful to assist in troubleshooting an active performance issue</a:t>
          </a:r>
          <a:endParaRPr lang="en-US" sz="3200" kern="1200" dirty="0"/>
        </a:p>
      </dsp:txBody>
      <dsp:txXfrm>
        <a:off x="1552150" y="2836"/>
        <a:ext cx="3703059" cy="2221835"/>
      </dsp:txXfrm>
    </dsp:sp>
    <dsp:sp modelId="{56045FA4-2A04-49C1-B6EB-B5CBFB24F778}">
      <dsp:nvSpPr>
        <dsp:cNvPr id="0" name=""/>
        <dsp:cNvSpPr/>
      </dsp:nvSpPr>
      <dsp:spPr>
        <a:xfrm>
          <a:off x="5625515" y="2836"/>
          <a:ext cx="3703059" cy="2221835"/>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a:t>Valuable to track the resources SQL Server is regularly waiting on</a:t>
          </a:r>
          <a:endParaRPr lang="en-US" sz="3200" kern="1200"/>
        </a:p>
      </dsp:txBody>
      <dsp:txXfrm>
        <a:off x="5625515" y="2836"/>
        <a:ext cx="3703059" cy="2221835"/>
      </dsp:txXfrm>
    </dsp:sp>
    <dsp:sp modelId="{4BA23AAE-553F-46CA-9E8C-BE5C44E53C8C}">
      <dsp:nvSpPr>
        <dsp:cNvPr id="0" name=""/>
        <dsp:cNvSpPr/>
      </dsp:nvSpPr>
      <dsp:spPr>
        <a:xfrm>
          <a:off x="1552150" y="2594977"/>
          <a:ext cx="3703059" cy="2221835"/>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a:t>Useful for workload measurements and benchmarking</a:t>
          </a:r>
          <a:endParaRPr lang="en-US" sz="3200" kern="1200"/>
        </a:p>
      </dsp:txBody>
      <dsp:txXfrm>
        <a:off x="1552150" y="2594977"/>
        <a:ext cx="3703059" cy="2221835"/>
      </dsp:txXfrm>
    </dsp:sp>
    <dsp:sp modelId="{85F72BB8-9F9A-44BF-9149-BFE2EF52F0C9}">
      <dsp:nvSpPr>
        <dsp:cNvPr id="0" name=""/>
        <dsp:cNvSpPr/>
      </dsp:nvSpPr>
      <dsp:spPr>
        <a:xfrm>
          <a:off x="5625515" y="2594977"/>
          <a:ext cx="3703059" cy="2221835"/>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a:t>Valuable for identifying performance trends</a:t>
          </a:r>
          <a:endParaRPr lang="en-US" sz="3200" kern="1200"/>
        </a:p>
      </dsp:txBody>
      <dsp:txXfrm>
        <a:off x="5625515" y="2594977"/>
        <a:ext cx="3703059" cy="222183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50DC7-A385-4C3D-85E8-5A190CB72709}">
      <dsp:nvSpPr>
        <dsp:cNvPr id="0" name=""/>
        <dsp:cNvSpPr/>
      </dsp:nvSpPr>
      <dsp:spPr>
        <a:xfrm>
          <a:off x="6184" y="859045"/>
          <a:ext cx="1718203" cy="171820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CPU Time (RUNNING)</a:t>
          </a:r>
          <a:endParaRPr lang="pt-PT" sz="1500" kern="1200">
            <a:latin typeface="Segoe UI Light" panose="020B0502040204020203" pitchFamily="34" charset="0"/>
            <a:cs typeface="Segoe UI Light" panose="020B0502040204020203" pitchFamily="34" charset="0"/>
          </a:endParaRPr>
        </a:p>
      </dsp:txBody>
      <dsp:txXfrm>
        <a:off x="257809" y="1110670"/>
        <a:ext cx="1214953" cy="1214953"/>
      </dsp:txXfrm>
    </dsp:sp>
    <dsp:sp modelId="{6673E2C0-687C-4813-9CDF-C1D7AB877466}">
      <dsp:nvSpPr>
        <dsp:cNvPr id="0" name=""/>
        <dsp:cNvSpPr/>
      </dsp:nvSpPr>
      <dsp:spPr>
        <a:xfrm>
          <a:off x="1863906" y="1219868"/>
          <a:ext cx="996558" cy="996558"/>
        </a:xfrm>
        <a:prstGeom prst="mathPlus">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PT" sz="1200" kern="1200">
            <a:latin typeface="Segoe UI Light" panose="020B0502040204020203" pitchFamily="34" charset="0"/>
            <a:cs typeface="Segoe UI Light" panose="020B0502040204020203" pitchFamily="34" charset="0"/>
          </a:endParaRPr>
        </a:p>
      </dsp:txBody>
      <dsp:txXfrm>
        <a:off x="1996000" y="1600952"/>
        <a:ext cx="732370" cy="234390"/>
      </dsp:txXfrm>
    </dsp:sp>
    <dsp:sp modelId="{10CBBA21-79EB-41F6-B412-F391EAA0507A}">
      <dsp:nvSpPr>
        <dsp:cNvPr id="0" name=""/>
        <dsp:cNvSpPr/>
      </dsp:nvSpPr>
      <dsp:spPr>
        <a:xfrm>
          <a:off x="2999982" y="859045"/>
          <a:ext cx="1718203" cy="1718203"/>
        </a:xfrm>
        <a:prstGeom prst="ellipse">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Signal Wait Time (RUNNABLE)</a:t>
          </a:r>
          <a:endParaRPr lang="pt-PT" sz="1500" kern="1200">
            <a:latin typeface="Segoe UI Light" panose="020B0502040204020203" pitchFamily="34" charset="0"/>
            <a:cs typeface="Segoe UI Light" panose="020B0502040204020203" pitchFamily="34" charset="0"/>
          </a:endParaRPr>
        </a:p>
      </dsp:txBody>
      <dsp:txXfrm>
        <a:off x="3251607" y="1110670"/>
        <a:ext cx="1214953" cy="1214953"/>
      </dsp:txXfrm>
    </dsp:sp>
    <dsp:sp modelId="{8B0DDA86-1B95-48DA-B6BA-3D7A249A161A}">
      <dsp:nvSpPr>
        <dsp:cNvPr id="0" name=""/>
        <dsp:cNvSpPr/>
      </dsp:nvSpPr>
      <dsp:spPr>
        <a:xfrm>
          <a:off x="4857703" y="1219868"/>
          <a:ext cx="996558" cy="996558"/>
        </a:xfrm>
        <a:prstGeom prst="mathPlus">
          <a:avLst/>
        </a:prstGeom>
        <a:solidFill>
          <a:schemeClr val="accent2">
            <a:hueOff val="-1333748"/>
            <a:satOff val="27691"/>
            <a:lumOff val="29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89797" y="1600952"/>
        <a:ext cx="732370" cy="234390"/>
      </dsp:txXfrm>
    </dsp:sp>
    <dsp:sp modelId="{8654DA70-295E-47B4-95D9-098230C9A89A}">
      <dsp:nvSpPr>
        <dsp:cNvPr id="0" name=""/>
        <dsp:cNvSpPr/>
      </dsp:nvSpPr>
      <dsp:spPr>
        <a:xfrm>
          <a:off x="5993780" y="859045"/>
          <a:ext cx="1718203" cy="1718203"/>
        </a:xfrm>
        <a:prstGeom prst="ellipse">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Resource Wait Time (SUSPENDED)</a:t>
          </a:r>
          <a:endParaRPr lang="pt-PT" sz="1500" kern="1200">
            <a:latin typeface="Segoe UI Light" panose="020B0502040204020203" pitchFamily="34" charset="0"/>
            <a:cs typeface="Segoe UI Light" panose="020B0502040204020203" pitchFamily="34" charset="0"/>
          </a:endParaRPr>
        </a:p>
      </dsp:txBody>
      <dsp:txXfrm>
        <a:off x="6245405" y="1110670"/>
        <a:ext cx="1214953" cy="1214953"/>
      </dsp:txXfrm>
    </dsp:sp>
    <dsp:sp modelId="{46BABBF9-D006-443D-8111-5C6F404BF7AA}">
      <dsp:nvSpPr>
        <dsp:cNvPr id="0" name=""/>
        <dsp:cNvSpPr/>
      </dsp:nvSpPr>
      <dsp:spPr>
        <a:xfrm>
          <a:off x="7851501" y="1219868"/>
          <a:ext cx="996558" cy="996558"/>
        </a:xfrm>
        <a:prstGeom prst="mathEqual">
          <a:avLst/>
        </a:prstGeom>
        <a:solidFill>
          <a:schemeClr val="accent2">
            <a:hueOff val="-2667497"/>
            <a:satOff val="55382"/>
            <a:lumOff val="58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983595" y="1425159"/>
        <a:ext cx="732370" cy="585976"/>
      </dsp:txXfrm>
    </dsp:sp>
    <dsp:sp modelId="{1E63E032-A34B-40F9-9996-7094989E1D20}">
      <dsp:nvSpPr>
        <dsp:cNvPr id="0" name=""/>
        <dsp:cNvSpPr/>
      </dsp:nvSpPr>
      <dsp:spPr>
        <a:xfrm>
          <a:off x="8987577" y="859045"/>
          <a:ext cx="1718203" cy="1718203"/>
        </a:xfrm>
        <a:prstGeom prst="ellipse">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pt-PT" sz="1500" kern="1200">
              <a:latin typeface="Segoe UI Light" panose="020B0502040204020203" pitchFamily="34" charset="0"/>
              <a:cs typeface="Segoe UI Light" panose="020B0502040204020203" pitchFamily="34" charset="0"/>
            </a:rPr>
            <a:t>Total Query Response Time</a:t>
          </a:r>
        </a:p>
      </dsp:txBody>
      <dsp:txXfrm>
        <a:off x="9239202" y="1110670"/>
        <a:ext cx="1214953" cy="1214953"/>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9B919B-8852-4200-8241-428B1FA32C75}">
      <dsp:nvSpPr>
        <dsp:cNvPr id="0" name=""/>
        <dsp:cNvSpPr/>
      </dsp:nvSpPr>
      <dsp:spPr>
        <a:xfrm>
          <a:off x="0" y="325746"/>
          <a:ext cx="10880725" cy="131197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all the waits encountered by threads that ran.</a:t>
          </a:r>
        </a:p>
        <a:p>
          <a:pPr marL="171450" lvl="1" indent="-171450" algn="l" defTabSz="755650" rtl="0">
            <a:lnSpc>
              <a:spcPct val="90000"/>
            </a:lnSpc>
            <a:spcBef>
              <a:spcPct val="0"/>
            </a:spcBef>
            <a:spcAft>
              <a:spcPct val="15000"/>
            </a:spcAft>
            <a:buChar char="•"/>
          </a:pPr>
          <a:r>
            <a:rPr lang="en-US" sz="1700" kern="1200" dirty="0"/>
            <a:t>Includes wait type, number of tasks that waited in the specific wait type, total and max wait times, and the amount of signal waits.</a:t>
          </a:r>
        </a:p>
      </dsp:txBody>
      <dsp:txXfrm>
        <a:off x="0" y="325746"/>
        <a:ext cx="10880725" cy="1311975"/>
      </dsp:txXfrm>
    </dsp:sp>
    <dsp:sp modelId="{C07A040C-EF9E-45F2-9214-97707786A867}">
      <dsp:nvSpPr>
        <dsp:cNvPr id="0" name=""/>
        <dsp:cNvSpPr/>
      </dsp:nvSpPr>
      <dsp:spPr>
        <a:xfrm>
          <a:off x="544036" y="74826"/>
          <a:ext cx="7616507"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pt-PT" sz="1700" kern="1200" dirty="0"/>
            <a:t>sys.dm_os_wait_stats</a:t>
          </a:r>
        </a:p>
      </dsp:txBody>
      <dsp:txXfrm>
        <a:off x="568534" y="99324"/>
        <a:ext cx="7567511" cy="452844"/>
      </dsp:txXfrm>
    </dsp:sp>
    <dsp:sp modelId="{F5EC977E-C613-4B96-A43C-60E20366B299}">
      <dsp:nvSpPr>
        <dsp:cNvPr id="0" name=""/>
        <dsp:cNvSpPr/>
      </dsp:nvSpPr>
      <dsp:spPr>
        <a:xfrm>
          <a:off x="0" y="1980441"/>
          <a:ext cx="10880725" cy="736312"/>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the wait queue of tasks actively waiting on some resource.</a:t>
          </a:r>
        </a:p>
      </dsp:txBody>
      <dsp:txXfrm>
        <a:off x="0" y="1980441"/>
        <a:ext cx="10880725" cy="736312"/>
      </dsp:txXfrm>
    </dsp:sp>
    <dsp:sp modelId="{83AE0A70-2509-45B2-A632-605C7EC79E8F}">
      <dsp:nvSpPr>
        <dsp:cNvPr id="0" name=""/>
        <dsp:cNvSpPr/>
      </dsp:nvSpPr>
      <dsp:spPr>
        <a:xfrm>
          <a:off x="544036" y="1729521"/>
          <a:ext cx="7616507" cy="5018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pt-PT" sz="1700" kern="1200" dirty="0"/>
            <a:t>sys.dm_os_waiting_tasks</a:t>
          </a:r>
        </a:p>
      </dsp:txBody>
      <dsp:txXfrm>
        <a:off x="568534" y="1754019"/>
        <a:ext cx="7567511" cy="452844"/>
      </dsp:txXfrm>
    </dsp:sp>
    <dsp:sp modelId="{64039597-9573-42C8-9A8B-A77492C84F44}">
      <dsp:nvSpPr>
        <dsp:cNvPr id="0" name=""/>
        <dsp:cNvSpPr/>
      </dsp:nvSpPr>
      <dsp:spPr>
        <a:xfrm>
          <a:off x="0" y="3059473"/>
          <a:ext cx="10880725" cy="1311975"/>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each request that is in-flight.</a:t>
          </a:r>
        </a:p>
        <a:p>
          <a:pPr marL="171450" lvl="1" indent="-171450" algn="l" defTabSz="755650" rtl="0">
            <a:lnSpc>
              <a:spcPct val="90000"/>
            </a:lnSpc>
            <a:spcBef>
              <a:spcPct val="0"/>
            </a:spcBef>
            <a:spcAft>
              <a:spcPct val="15000"/>
            </a:spcAft>
            <a:buChar char="•"/>
          </a:pPr>
          <a:r>
            <a:rPr lang="en-US" sz="1700" kern="1200" dirty="0"/>
            <a:t>Includes session owning the request and status of the request, which will reflect the status of one or more tasks assigned to the request.</a:t>
          </a:r>
        </a:p>
      </dsp:txBody>
      <dsp:txXfrm>
        <a:off x="0" y="3059473"/>
        <a:ext cx="10880725" cy="1311975"/>
      </dsp:txXfrm>
    </dsp:sp>
    <dsp:sp modelId="{13D6AD74-28B3-40F7-860A-D3D90B551BB7}">
      <dsp:nvSpPr>
        <dsp:cNvPr id="0" name=""/>
        <dsp:cNvSpPr/>
      </dsp:nvSpPr>
      <dsp:spPr>
        <a:xfrm>
          <a:off x="544036" y="2808553"/>
          <a:ext cx="7616507" cy="5018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en-US" sz="1700" kern="1200" dirty="0" err="1"/>
            <a:t>sys.dm_exec_requests</a:t>
          </a:r>
          <a:endParaRPr lang="en-US" sz="1700" kern="1200" dirty="0"/>
        </a:p>
      </dsp:txBody>
      <dsp:txXfrm>
        <a:off x="568534" y="2833051"/>
        <a:ext cx="7567511" cy="45284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CCB0F4-16B8-4109-B453-EAA6FB561D0C}">
      <dsp:nvSpPr>
        <dsp:cNvPr id="0" name=""/>
        <dsp:cNvSpPr/>
      </dsp:nvSpPr>
      <dsp:spPr>
        <a:xfrm>
          <a:off x="0" y="2302"/>
          <a:ext cx="10880726" cy="52046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baseline="0" dirty="0">
              <a:latin typeface="+mn-lt"/>
            </a:rPr>
            <a:t>SOS_SCHEDULER_YIELD</a:t>
          </a:r>
          <a:endParaRPr lang="en-US" sz="2400" b="0" kern="1200" dirty="0">
            <a:latin typeface="+mn-lt"/>
          </a:endParaRPr>
        </a:p>
      </dsp:txBody>
      <dsp:txXfrm>
        <a:off x="25407" y="27709"/>
        <a:ext cx="10829912" cy="469653"/>
      </dsp:txXfrm>
    </dsp:sp>
    <dsp:sp modelId="{B913BE4D-0B03-49FB-931A-2C517AC6E61D}">
      <dsp:nvSpPr>
        <dsp:cNvPr id="0" name=""/>
        <dsp:cNvSpPr/>
      </dsp:nvSpPr>
      <dsp:spPr>
        <a:xfrm>
          <a:off x="0" y="535088"/>
          <a:ext cx="10880726" cy="520467"/>
        </a:xfrm>
        <a:prstGeom prst="roundRect">
          <a:avLst/>
        </a:prstGeom>
        <a:solidFill>
          <a:schemeClr val="accent2">
            <a:hueOff val="-296389"/>
            <a:satOff val="6154"/>
            <a:lumOff val="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baseline="0" dirty="0">
              <a:latin typeface="+mn-lt"/>
            </a:rPr>
            <a:t>CXPACKET</a:t>
          </a:r>
          <a:endParaRPr lang="en-US" sz="2400" b="0" kern="1200" spc="0" baseline="0" dirty="0">
            <a:latin typeface="+mn-lt"/>
            <a:ea typeface="+mn-ea"/>
            <a:cs typeface="Segoe UI" panose="020B0502040204020203" pitchFamily="34" charset="0"/>
          </a:endParaRPr>
        </a:p>
      </dsp:txBody>
      <dsp:txXfrm>
        <a:off x="25407" y="560495"/>
        <a:ext cx="10829912" cy="469653"/>
      </dsp:txXfrm>
    </dsp:sp>
    <dsp:sp modelId="{42E8A96A-5F44-4E5C-9E61-C171C4677618}">
      <dsp:nvSpPr>
        <dsp:cNvPr id="0" name=""/>
        <dsp:cNvSpPr/>
      </dsp:nvSpPr>
      <dsp:spPr>
        <a:xfrm>
          <a:off x="0" y="1067874"/>
          <a:ext cx="10880726" cy="520467"/>
        </a:xfrm>
        <a:prstGeom prst="roundRect">
          <a:avLst/>
        </a:prstGeom>
        <a:solidFill>
          <a:schemeClr val="accent2">
            <a:hueOff val="-592777"/>
            <a:satOff val="12307"/>
            <a:lumOff val="1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err="1">
              <a:latin typeface="+mn-lt"/>
              <a:ea typeface="+mn-ea"/>
              <a:cs typeface="Segoe UI Light" panose="020B0502040204020203" pitchFamily="34" charset="0"/>
            </a:rPr>
            <a:t>PAGELATCH_xx</a:t>
          </a:r>
          <a:endParaRPr lang="en-US" sz="2400" b="0" kern="1200" spc="0" baseline="0" dirty="0">
            <a:latin typeface="+mn-lt"/>
            <a:ea typeface="+mn-ea"/>
            <a:cs typeface="Segoe UI" panose="020B0502040204020203" pitchFamily="34" charset="0"/>
          </a:endParaRPr>
        </a:p>
      </dsp:txBody>
      <dsp:txXfrm>
        <a:off x="25407" y="1093281"/>
        <a:ext cx="10829912" cy="469653"/>
      </dsp:txXfrm>
    </dsp:sp>
    <dsp:sp modelId="{2933DB2A-6E28-4EAA-9960-C0F44FE26D74}">
      <dsp:nvSpPr>
        <dsp:cNvPr id="0" name=""/>
        <dsp:cNvSpPr/>
      </dsp:nvSpPr>
      <dsp:spPr>
        <a:xfrm>
          <a:off x="0" y="1600660"/>
          <a:ext cx="10880726" cy="520467"/>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err="1">
              <a:latin typeface="+mn-lt"/>
              <a:ea typeface="+mn-ea"/>
              <a:cs typeface="Segoe UI Light" panose="020B0502040204020203" pitchFamily="34" charset="0"/>
            </a:rPr>
            <a:t>PAGEIOLATCH_xx</a:t>
          </a:r>
          <a:endParaRPr lang="en-US" sz="2400" b="0" kern="1200" spc="0" baseline="0" dirty="0">
            <a:latin typeface="+mn-lt"/>
            <a:ea typeface="+mn-ea"/>
            <a:cs typeface="Segoe UI" panose="020B0502040204020203" pitchFamily="34" charset="0"/>
          </a:endParaRPr>
        </a:p>
      </dsp:txBody>
      <dsp:txXfrm>
        <a:off x="25407" y="1626067"/>
        <a:ext cx="10829912" cy="469653"/>
      </dsp:txXfrm>
    </dsp:sp>
    <dsp:sp modelId="{915A74EA-AB62-413C-A97E-0F85A040369C}">
      <dsp:nvSpPr>
        <dsp:cNvPr id="0" name=""/>
        <dsp:cNvSpPr/>
      </dsp:nvSpPr>
      <dsp:spPr>
        <a:xfrm>
          <a:off x="0" y="2133436"/>
          <a:ext cx="10880726" cy="520467"/>
        </a:xfrm>
        <a:prstGeom prst="roundRect">
          <a:avLst/>
        </a:prstGeom>
        <a:solidFill>
          <a:schemeClr val="accent2">
            <a:hueOff val="-1185554"/>
            <a:satOff val="24614"/>
            <a:lumOff val="2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mn-lt"/>
              <a:ea typeface="+mn-ea"/>
              <a:cs typeface="Segoe UI Light" panose="020B0502040204020203" pitchFamily="34" charset="0"/>
            </a:rPr>
            <a:t>IO_COMPLETION </a:t>
          </a:r>
          <a:endParaRPr lang="en-US" sz="2400" b="0" kern="1200" spc="0" baseline="0" dirty="0">
            <a:latin typeface="+mn-lt"/>
            <a:ea typeface="+mn-ea"/>
            <a:cs typeface="Segoe UI" panose="020B0502040204020203" pitchFamily="34" charset="0"/>
          </a:endParaRPr>
        </a:p>
      </dsp:txBody>
      <dsp:txXfrm>
        <a:off x="25407" y="2158843"/>
        <a:ext cx="10829912" cy="469653"/>
      </dsp:txXfrm>
    </dsp:sp>
    <dsp:sp modelId="{05164646-EC11-4CCB-8915-FF108925A8B2}">
      <dsp:nvSpPr>
        <dsp:cNvPr id="0" name=""/>
        <dsp:cNvSpPr/>
      </dsp:nvSpPr>
      <dsp:spPr>
        <a:xfrm>
          <a:off x="0" y="2666232"/>
          <a:ext cx="10880726" cy="520467"/>
        </a:xfrm>
        <a:prstGeom prst="roundRect">
          <a:avLst/>
        </a:prstGeom>
        <a:solidFill>
          <a:schemeClr val="accent2">
            <a:hueOff val="-1481943"/>
            <a:satOff val="30768"/>
            <a:lumOff val="32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mn-lt"/>
              <a:ea typeface="+mn-ea"/>
              <a:cs typeface="Segoe UI Light" panose="020B0502040204020203" pitchFamily="34" charset="0"/>
            </a:rPr>
            <a:t>ASYNC_IO_COMPLETION </a:t>
          </a:r>
          <a:endParaRPr lang="pt-PT" sz="2400" b="0" kern="1200" dirty="0">
            <a:latin typeface="+mn-lt"/>
            <a:ea typeface="+mn-ea"/>
            <a:cs typeface="+mn-cs"/>
          </a:endParaRPr>
        </a:p>
      </dsp:txBody>
      <dsp:txXfrm>
        <a:off x="25407" y="2691639"/>
        <a:ext cx="10829912" cy="469653"/>
      </dsp:txXfrm>
    </dsp:sp>
    <dsp:sp modelId="{9D78FD09-2F68-41D1-BC87-4A37D7C663D0}">
      <dsp:nvSpPr>
        <dsp:cNvPr id="0" name=""/>
        <dsp:cNvSpPr/>
      </dsp:nvSpPr>
      <dsp:spPr>
        <a:xfrm>
          <a:off x="0" y="3199018"/>
          <a:ext cx="10880726" cy="520467"/>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mn-lt"/>
              <a:ea typeface="+mn-ea"/>
              <a:cs typeface="Segoe UI Light" panose="020B0502040204020203" pitchFamily="34" charset="0"/>
            </a:rPr>
            <a:t>WRITELOG</a:t>
          </a:r>
          <a:endParaRPr lang="pt-PT" sz="2400" b="0" kern="1200" dirty="0">
            <a:latin typeface="+mn-lt"/>
            <a:ea typeface="+mn-ea"/>
            <a:cs typeface="+mn-cs"/>
          </a:endParaRPr>
        </a:p>
      </dsp:txBody>
      <dsp:txXfrm>
        <a:off x="25407" y="3224425"/>
        <a:ext cx="10829912" cy="469653"/>
      </dsp:txXfrm>
    </dsp:sp>
    <dsp:sp modelId="{5B399605-E137-4CAB-8B2D-C244D2E02AD4}">
      <dsp:nvSpPr>
        <dsp:cNvPr id="0" name=""/>
        <dsp:cNvSpPr/>
      </dsp:nvSpPr>
      <dsp:spPr>
        <a:xfrm>
          <a:off x="0" y="3731804"/>
          <a:ext cx="10880726" cy="520467"/>
        </a:xfrm>
        <a:prstGeom prst="roundRect">
          <a:avLst/>
        </a:prstGeom>
        <a:solidFill>
          <a:schemeClr val="accent2">
            <a:hueOff val="-2074720"/>
            <a:satOff val="43075"/>
            <a:lumOff val="4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mn-lt"/>
            </a:rPr>
            <a:t>CMEMTHREAD</a:t>
          </a:r>
          <a:endParaRPr lang="pt-PT" sz="2400" b="0" kern="1200" dirty="0">
            <a:latin typeface="+mn-lt"/>
            <a:ea typeface="+mn-ea"/>
            <a:cs typeface="+mn-cs"/>
          </a:endParaRPr>
        </a:p>
      </dsp:txBody>
      <dsp:txXfrm>
        <a:off x="25407" y="3757211"/>
        <a:ext cx="10829912" cy="469653"/>
      </dsp:txXfrm>
    </dsp:sp>
    <dsp:sp modelId="{5C33FF58-F146-4E39-9318-3909E092C4DA}">
      <dsp:nvSpPr>
        <dsp:cNvPr id="0" name=""/>
        <dsp:cNvSpPr/>
      </dsp:nvSpPr>
      <dsp:spPr>
        <a:xfrm>
          <a:off x="0" y="4264590"/>
          <a:ext cx="10880726" cy="520467"/>
        </a:xfrm>
        <a:prstGeom prst="roundRect">
          <a:avLst/>
        </a:prstGeom>
        <a:solidFill>
          <a:schemeClr val="accent2">
            <a:hueOff val="-2371108"/>
            <a:satOff val="49228"/>
            <a:lumOff val="5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mn-lt"/>
            </a:rPr>
            <a:t>RESOURCE_SEMAPHORE</a:t>
          </a:r>
          <a:endParaRPr lang="pt-PT" sz="2400" b="0" kern="1200" dirty="0">
            <a:latin typeface="+mn-lt"/>
          </a:endParaRPr>
        </a:p>
      </dsp:txBody>
      <dsp:txXfrm>
        <a:off x="25407" y="4289997"/>
        <a:ext cx="10829912" cy="469653"/>
      </dsp:txXfrm>
    </dsp:sp>
    <dsp:sp modelId="{1D4F549C-C019-4C4F-B6EC-CAAF4B6BB501}">
      <dsp:nvSpPr>
        <dsp:cNvPr id="0" name=""/>
        <dsp:cNvSpPr/>
      </dsp:nvSpPr>
      <dsp:spPr>
        <a:xfrm>
          <a:off x="0" y="4797376"/>
          <a:ext cx="10880726" cy="520467"/>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err="1">
              <a:latin typeface="+mn-lt"/>
            </a:rPr>
            <a:t>LCK_xx</a:t>
          </a:r>
          <a:endParaRPr lang="pt-PT" sz="2400" b="0" kern="1200" dirty="0">
            <a:latin typeface="+mn-lt"/>
          </a:endParaRPr>
        </a:p>
      </dsp:txBody>
      <dsp:txXfrm>
        <a:off x="25407" y="4822783"/>
        <a:ext cx="10829912" cy="4696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FE222-2D5A-4A1B-9046-4D065BA79C36}">
      <dsp:nvSpPr>
        <dsp:cNvPr id="0" name=""/>
        <dsp:cNvSpPr/>
      </dsp:nvSpPr>
      <dsp:spPr>
        <a:xfrm>
          <a:off x="53" y="55778"/>
          <a:ext cx="5124502" cy="720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Management</a:t>
          </a:r>
        </a:p>
      </dsp:txBody>
      <dsp:txXfrm>
        <a:off x="53" y="55778"/>
        <a:ext cx="5124502" cy="720000"/>
      </dsp:txXfrm>
    </dsp:sp>
    <dsp:sp modelId="{E00CBA4F-BD30-43E5-804F-0C1AFABFED89}">
      <dsp:nvSpPr>
        <dsp:cNvPr id="0" name=""/>
        <dsp:cNvSpPr/>
      </dsp:nvSpPr>
      <dsp:spPr>
        <a:xfrm>
          <a:off x="53" y="775778"/>
          <a:ext cx="5124502" cy="452925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latin typeface="+mj-lt"/>
            </a:rPr>
            <a:t>Memory Manager</a:t>
          </a:r>
          <a:endParaRPr lang="en-US" sz="2500" kern="1200" dirty="0"/>
        </a:p>
        <a:p>
          <a:pPr marL="228600" lvl="1" indent="-228600" algn="l" defTabSz="1111250">
            <a:lnSpc>
              <a:spcPct val="90000"/>
            </a:lnSpc>
            <a:spcBef>
              <a:spcPct val="0"/>
            </a:spcBef>
            <a:spcAft>
              <a:spcPct val="15000"/>
            </a:spcAft>
            <a:buChar char="•"/>
          </a:pPr>
          <a:r>
            <a:rPr lang="en-US" sz="2500" kern="1200" dirty="0">
              <a:latin typeface="+mj-lt"/>
            </a:rPr>
            <a:t>Process Scheduler</a:t>
          </a:r>
        </a:p>
        <a:p>
          <a:pPr marL="228600" lvl="1" indent="-228600" algn="l" defTabSz="1111250">
            <a:lnSpc>
              <a:spcPct val="90000"/>
            </a:lnSpc>
            <a:spcBef>
              <a:spcPct val="0"/>
            </a:spcBef>
            <a:spcAft>
              <a:spcPct val="15000"/>
            </a:spcAft>
            <a:buChar char="•"/>
          </a:pPr>
          <a:r>
            <a:rPr lang="en-US" sz="2500" kern="1200" dirty="0">
              <a:latin typeface="+mj-lt"/>
            </a:rPr>
            <a:t>Synchronization</a:t>
          </a:r>
        </a:p>
        <a:p>
          <a:pPr marL="228600" lvl="1" indent="-228600" algn="l" defTabSz="1111250">
            <a:lnSpc>
              <a:spcPct val="90000"/>
            </a:lnSpc>
            <a:spcBef>
              <a:spcPct val="0"/>
            </a:spcBef>
            <a:spcAft>
              <a:spcPct val="15000"/>
            </a:spcAft>
            <a:buChar char="•"/>
          </a:pPr>
          <a:r>
            <a:rPr lang="en-US" sz="2500" kern="1200" dirty="0">
              <a:latin typeface="+mj-lt"/>
            </a:rPr>
            <a:t>I/O</a:t>
          </a:r>
        </a:p>
        <a:p>
          <a:pPr marL="228600" lvl="1" indent="-228600" algn="l" defTabSz="1111250">
            <a:lnSpc>
              <a:spcPct val="90000"/>
            </a:lnSpc>
            <a:spcBef>
              <a:spcPct val="0"/>
            </a:spcBef>
            <a:spcAft>
              <a:spcPct val="15000"/>
            </a:spcAft>
            <a:buChar char="•"/>
          </a:pPr>
          <a:r>
            <a:rPr lang="en-US" sz="2500" kern="1200" dirty="0">
              <a:latin typeface="+mj-lt"/>
            </a:rPr>
            <a:t>Support for Non-Uniform Memory Access (NUMA) and Resource Governor</a:t>
          </a:r>
        </a:p>
      </dsp:txBody>
      <dsp:txXfrm>
        <a:off x="53" y="775778"/>
        <a:ext cx="5124502" cy="4529250"/>
      </dsp:txXfrm>
    </dsp:sp>
    <dsp:sp modelId="{45D8A25D-87CA-4E0A-85F2-3D16A7C72C1D}">
      <dsp:nvSpPr>
        <dsp:cNvPr id="0" name=""/>
        <dsp:cNvSpPr/>
      </dsp:nvSpPr>
      <dsp:spPr>
        <a:xfrm>
          <a:off x="5841986" y="55778"/>
          <a:ext cx="5124502" cy="720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Monitoring</a:t>
          </a:r>
        </a:p>
      </dsp:txBody>
      <dsp:txXfrm>
        <a:off x="5841986" y="55778"/>
        <a:ext cx="5124502" cy="720000"/>
      </dsp:txXfrm>
    </dsp:sp>
    <dsp:sp modelId="{AD34648F-7D87-49A8-ACEF-388E87F344EC}">
      <dsp:nvSpPr>
        <dsp:cNvPr id="0" name=""/>
        <dsp:cNvSpPr/>
      </dsp:nvSpPr>
      <dsp:spPr>
        <a:xfrm>
          <a:off x="5841986" y="775778"/>
          <a:ext cx="5124502" cy="452925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latin typeface="+mj-lt"/>
            </a:rPr>
            <a:t>Resource Monitor</a:t>
          </a:r>
          <a:endParaRPr lang="en-US" sz="2500" kern="1200" dirty="0"/>
        </a:p>
        <a:p>
          <a:pPr marL="228600" lvl="1" indent="-228600" algn="l" defTabSz="1111250">
            <a:lnSpc>
              <a:spcPct val="90000"/>
            </a:lnSpc>
            <a:spcBef>
              <a:spcPct val="0"/>
            </a:spcBef>
            <a:spcAft>
              <a:spcPct val="15000"/>
            </a:spcAft>
            <a:buChar char="•"/>
          </a:pPr>
          <a:r>
            <a:rPr lang="en-US" sz="2500" kern="1200">
              <a:latin typeface="+mj-lt"/>
            </a:rPr>
            <a:t>Deadlock Monitor</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Scheduler Monitor</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Lazy Writer (Buffer Pool management)</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Dynamic Management Views (DMVs)</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Extended Events</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dirty="0">
              <a:latin typeface="+mj-lt"/>
            </a:rPr>
            <a:t>Dedicated Administrator Connection (DAC)</a:t>
          </a:r>
          <a:endParaRPr lang="en-US" sz="2500" kern="1200" dirty="0"/>
        </a:p>
      </dsp:txBody>
      <dsp:txXfrm>
        <a:off x="5841986" y="775778"/>
        <a:ext cx="5124502" cy="452925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73813"/>
          <a:ext cx="10880725"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ile troubleshooting a resource bottleneck what two objects should you examine?</a:t>
          </a:r>
        </a:p>
      </dsp:txBody>
      <dsp:txXfrm>
        <a:off x="27644" y="101457"/>
        <a:ext cx="10825437" cy="510992"/>
      </dsp:txXfrm>
    </dsp:sp>
    <dsp:sp modelId="{4A71D5C7-A7D6-46CE-B888-CF65241F6B98}">
      <dsp:nvSpPr>
        <dsp:cNvPr id="0" name=""/>
        <dsp:cNvSpPr/>
      </dsp:nvSpPr>
      <dsp:spPr>
        <a:xfrm>
          <a:off x="0" y="703453"/>
          <a:ext cx="10880725" cy="5662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at are the three components that make up query execution time?</a:t>
          </a:r>
        </a:p>
      </dsp:txBody>
      <dsp:txXfrm>
        <a:off x="27644" y="731097"/>
        <a:ext cx="10825437" cy="510992"/>
      </dsp:txXfrm>
    </dsp:sp>
    <dsp:sp modelId="{4CE6D622-6C4B-4912-A756-057BDFDF7259}">
      <dsp:nvSpPr>
        <dsp:cNvPr id="0" name=""/>
        <dsp:cNvSpPr/>
      </dsp:nvSpPr>
      <dsp:spPr>
        <a:xfrm>
          <a:off x="0" y="1333093"/>
          <a:ext cx="10880725" cy="5662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at is the difference between a PAGELATCH wait and a PAGEIOLATCH wait?</a:t>
          </a:r>
        </a:p>
      </dsp:txBody>
      <dsp:txXfrm>
        <a:off x="27644" y="1360737"/>
        <a:ext cx="10825437" cy="510992"/>
      </dsp:txXfrm>
    </dsp:sp>
    <dsp:sp modelId="{0E5177C7-801D-471B-9850-4FD8DFBC4036}">
      <dsp:nvSpPr>
        <dsp:cNvPr id="0" name=""/>
        <dsp:cNvSpPr/>
      </dsp:nvSpPr>
      <dsp:spPr>
        <a:xfrm>
          <a:off x="0" y="1962733"/>
          <a:ext cx="10880725" cy="5662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ich DMV should you examine to view historical wait information?</a:t>
          </a:r>
        </a:p>
      </dsp:txBody>
      <dsp:txXfrm>
        <a:off x="27644" y="1990377"/>
        <a:ext cx="10825437" cy="510992"/>
      </dsp:txXfrm>
    </dsp:sp>
    <dsp:sp modelId="{196D8D5C-AF3C-4B3F-BC76-432EBE3C6399}">
      <dsp:nvSpPr>
        <dsp:cNvPr id="0" name=""/>
        <dsp:cNvSpPr/>
      </dsp:nvSpPr>
      <dsp:spPr>
        <a:xfrm>
          <a:off x="0" y="2592373"/>
          <a:ext cx="10880725" cy="56628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ich DMV should you examine to view current wait information?</a:t>
          </a:r>
        </a:p>
      </dsp:txBody>
      <dsp:txXfrm>
        <a:off x="27644" y="2620017"/>
        <a:ext cx="10825437" cy="5109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4107"/>
          <a:ext cx="10880725" cy="102316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How does the SQLOS improve the efficiency of the SQL Server database engine code?</a:t>
          </a:r>
        </a:p>
      </dsp:txBody>
      <dsp:txXfrm>
        <a:off x="49947" y="64054"/>
        <a:ext cx="10780831" cy="923271"/>
      </dsp:txXfrm>
    </dsp:sp>
    <dsp:sp modelId="{4A71D5C7-A7D6-46CE-B888-CF65241F6B98}">
      <dsp:nvSpPr>
        <dsp:cNvPr id="0" name=""/>
        <dsp:cNvSpPr/>
      </dsp:nvSpPr>
      <dsp:spPr>
        <a:xfrm>
          <a:off x="0" y="1189912"/>
          <a:ext cx="10880725" cy="102316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the two main functions of the SQLOS?</a:t>
          </a:r>
        </a:p>
      </dsp:txBody>
      <dsp:txXfrm>
        <a:off x="49947" y="1239859"/>
        <a:ext cx="10780831" cy="92327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9C90E9-1622-49BB-A182-28FAD8B80E3C}">
      <dsp:nvSpPr>
        <dsp:cNvPr id="0" name=""/>
        <dsp:cNvSpPr/>
      </dsp:nvSpPr>
      <dsp:spPr>
        <a:xfrm>
          <a:off x="0" y="5270"/>
          <a:ext cx="11381232"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Batch</a:t>
          </a:r>
          <a:endParaRPr lang="en-US" sz="2800" kern="1200"/>
        </a:p>
      </dsp:txBody>
      <dsp:txXfrm>
        <a:off x="35183" y="40453"/>
        <a:ext cx="11310866" cy="650354"/>
      </dsp:txXfrm>
    </dsp:sp>
    <dsp:sp modelId="{C4D172BD-3A27-46B8-886B-891BF3BE8CB8}">
      <dsp:nvSpPr>
        <dsp:cNvPr id="0" name=""/>
        <dsp:cNvSpPr/>
      </dsp:nvSpPr>
      <dsp:spPr>
        <a:xfrm>
          <a:off x="0" y="725990"/>
          <a:ext cx="11381232" cy="1159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a:t>A statement or set of statements submitted to SQL Server by the user (a query), also referred to as a request</a:t>
          </a:r>
          <a:endParaRPr lang="en-US" sz="2200" kern="1200"/>
        </a:p>
        <a:p>
          <a:pPr marL="228600" lvl="1" indent="-228600" algn="l" defTabSz="977900">
            <a:lnSpc>
              <a:spcPct val="90000"/>
            </a:lnSpc>
            <a:spcBef>
              <a:spcPct val="0"/>
            </a:spcBef>
            <a:spcAft>
              <a:spcPct val="20000"/>
            </a:spcAft>
            <a:buChar char="•"/>
          </a:pPr>
          <a:r>
            <a:rPr lang="en-US" sz="2200" kern="1200" baseline="0"/>
            <a:t>Monitor with sys.dm_exec_requests </a:t>
          </a:r>
          <a:endParaRPr lang="en-US" sz="2200" kern="1200" dirty="0"/>
        </a:p>
      </dsp:txBody>
      <dsp:txXfrm>
        <a:off x="0" y="725990"/>
        <a:ext cx="11381232" cy="1159200"/>
      </dsp:txXfrm>
    </dsp:sp>
    <dsp:sp modelId="{5DD6315D-A3AF-4A66-B6E1-1F576C5DD880}">
      <dsp:nvSpPr>
        <dsp:cNvPr id="0" name=""/>
        <dsp:cNvSpPr/>
      </dsp:nvSpPr>
      <dsp:spPr>
        <a:xfrm>
          <a:off x="0" y="1885190"/>
          <a:ext cx="11381232" cy="72072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Task</a:t>
          </a:r>
          <a:endParaRPr lang="en-US" sz="2800" kern="1200"/>
        </a:p>
      </dsp:txBody>
      <dsp:txXfrm>
        <a:off x="35183" y="1920373"/>
        <a:ext cx="11310866" cy="650354"/>
      </dsp:txXfrm>
    </dsp:sp>
    <dsp:sp modelId="{49F8B814-6CBE-4CAF-B0B6-2B5768970CEB}">
      <dsp:nvSpPr>
        <dsp:cNvPr id="0" name=""/>
        <dsp:cNvSpPr/>
      </dsp:nvSpPr>
      <dsp:spPr>
        <a:xfrm>
          <a:off x="0" y="2605910"/>
          <a:ext cx="11381232"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a:t>A batch will have one or more tasks (aligns with statements)</a:t>
          </a:r>
          <a:endParaRPr lang="en-US" sz="2200" kern="1200"/>
        </a:p>
        <a:p>
          <a:pPr marL="228600" lvl="1" indent="-228600" algn="l" defTabSz="977900">
            <a:lnSpc>
              <a:spcPct val="90000"/>
            </a:lnSpc>
            <a:spcBef>
              <a:spcPct val="0"/>
            </a:spcBef>
            <a:spcAft>
              <a:spcPct val="20000"/>
            </a:spcAft>
            <a:buChar char="•"/>
          </a:pPr>
          <a:r>
            <a:rPr lang="en-US" sz="2200" kern="1200" baseline="0" dirty="0"/>
            <a:t>Monitor with sys.dm_os_tasks</a:t>
          </a:r>
          <a:endParaRPr lang="en-US" sz="2200" kern="1200" dirty="0"/>
        </a:p>
      </dsp:txBody>
      <dsp:txXfrm>
        <a:off x="0" y="2605910"/>
        <a:ext cx="11381232" cy="825930"/>
      </dsp:txXfrm>
    </dsp:sp>
    <dsp:sp modelId="{CB7BEE8D-BC86-4209-BE73-55173F086263}">
      <dsp:nvSpPr>
        <dsp:cNvPr id="0" name=""/>
        <dsp:cNvSpPr/>
      </dsp:nvSpPr>
      <dsp:spPr>
        <a:xfrm>
          <a:off x="0" y="3431840"/>
          <a:ext cx="11381232" cy="7207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Worker</a:t>
          </a:r>
          <a:r>
            <a:rPr lang="en-US" sz="2800" kern="1200" baseline="0"/>
            <a:t> </a:t>
          </a:r>
          <a:r>
            <a:rPr lang="en-US" sz="2800" b="1" kern="1200" baseline="0"/>
            <a:t>Thread</a:t>
          </a:r>
          <a:endParaRPr lang="en-US" sz="2800" kern="1200"/>
        </a:p>
      </dsp:txBody>
      <dsp:txXfrm>
        <a:off x="35183" y="3467023"/>
        <a:ext cx="11310866" cy="650354"/>
      </dsp:txXfrm>
    </dsp:sp>
    <dsp:sp modelId="{89DE0FF6-00AD-4E7B-A269-DE37D9E8D853}">
      <dsp:nvSpPr>
        <dsp:cNvPr id="0" name=""/>
        <dsp:cNvSpPr/>
      </dsp:nvSpPr>
      <dsp:spPr>
        <a:xfrm>
          <a:off x="0" y="4152560"/>
          <a:ext cx="11381232"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dirty="0"/>
            <a:t>Each task will be assigned to a single worker thread for the life of the task</a:t>
          </a:r>
          <a:endParaRPr lang="en-US" sz="2200" kern="1200" dirty="0"/>
        </a:p>
        <a:p>
          <a:pPr marL="228600" lvl="1" indent="-228600" algn="l" defTabSz="977900">
            <a:lnSpc>
              <a:spcPct val="90000"/>
            </a:lnSpc>
            <a:spcBef>
              <a:spcPct val="0"/>
            </a:spcBef>
            <a:spcAft>
              <a:spcPct val="20000"/>
            </a:spcAft>
            <a:buChar char="•"/>
          </a:pPr>
          <a:r>
            <a:rPr lang="en-US" sz="2200" kern="1200" baseline="0" dirty="0"/>
            <a:t>Monitor with </a:t>
          </a:r>
          <a:r>
            <a:rPr lang="en-US" sz="2200" kern="1200" baseline="0" dirty="0" err="1"/>
            <a:t>sys.dm_os_workers</a:t>
          </a:r>
          <a:endParaRPr lang="en-US" sz="2200" kern="1200" dirty="0"/>
        </a:p>
      </dsp:txBody>
      <dsp:txXfrm>
        <a:off x="0" y="4152560"/>
        <a:ext cx="11381232" cy="82593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chemeClr val="accent2">
            <a:hueOff val="0"/>
            <a:satOff val="0"/>
            <a:lumOff val="0"/>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FFFFFF"/>
              </a:solidFill>
            </a:rPr>
            <a:t>Connection</a:t>
          </a:r>
          <a:endParaRPr lang="pt-PT" sz="2000" kern="1200" dirty="0">
            <a:solidFill>
              <a:srgbClr val="FFFFFF"/>
            </a:solidFill>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Session</a:t>
          </a:r>
          <a:endParaRPr lang="pt-PT" sz="2000" kern="1200" dirty="0">
            <a:solidFill>
              <a:schemeClr val="tx1"/>
            </a:solidFill>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Request</a:t>
          </a:r>
          <a:br>
            <a:rPr lang="en-US" sz="2000" kern="1200">
              <a:solidFill>
                <a:schemeClr val="tx1"/>
              </a:solidFill>
            </a:rPr>
          </a:br>
          <a:r>
            <a:rPr lang="en-US" sz="2000" kern="1200">
              <a:solidFill>
                <a:schemeClr val="tx1"/>
              </a:solidFill>
            </a:rPr>
            <a:t>(Batch)</a:t>
          </a:r>
          <a:endParaRPr lang="pt-PT" sz="2000" kern="1200" dirty="0">
            <a:solidFill>
              <a:schemeClr val="tx1"/>
            </a:solidFill>
          </a:endParaRPr>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Task</a:t>
          </a:r>
          <a:endParaRPr lang="pt-PT" sz="2000" kern="1200" dirty="0">
            <a:solidFill>
              <a:schemeClr val="tx1"/>
            </a:solidFill>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Worker</a:t>
          </a:r>
          <a:endParaRPr lang="pt-PT" sz="2000" kern="1200" dirty="0">
            <a:solidFill>
              <a:schemeClr val="tx1"/>
            </a:solidFill>
          </a:endParaRPr>
        </a:p>
      </dsp:txBody>
      <dsp:txXfrm>
        <a:off x="9009529" y="702732"/>
        <a:ext cx="1834839" cy="79383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chemeClr val="accent2">
            <a:hueOff val="-666874"/>
            <a:satOff val="13846"/>
            <a:lumOff val="147"/>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ession</a:t>
          </a:r>
          <a:endParaRPr lang="pt-PT" sz="2000" kern="1200" dirty="0"/>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quest</a:t>
          </a:r>
          <a:br>
            <a:rPr lang="en-US" sz="2000" kern="1200" dirty="0"/>
          </a:br>
          <a:r>
            <a:rPr lang="en-US" sz="2000" kern="1200" dirty="0"/>
            <a:t>(Batch)</a:t>
          </a:r>
          <a:endParaRPr lang="pt-PT" sz="2000" kern="1200" dirty="0"/>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sp:txBody>
      <dsp:txXfrm>
        <a:off x="9009529" y="702732"/>
        <a:ext cx="1834839" cy="79383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chemeClr val="accent2">
            <a:hueOff val="-1333748"/>
            <a:satOff val="27691"/>
            <a:lumOff val="294"/>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quest</a:t>
          </a:r>
          <a:br>
            <a:rPr lang="en-US" sz="2000" kern="1200" dirty="0"/>
          </a:br>
          <a:r>
            <a:rPr lang="en-US" sz="2000" kern="1200" dirty="0"/>
            <a:t>(Batch)</a:t>
          </a:r>
          <a:endParaRPr lang="pt-PT" sz="2000" kern="1200" dirty="0"/>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Task</a:t>
          </a:r>
          <a:endParaRPr lang="pt-PT" sz="2000" kern="1200" dirty="0">
            <a:solidFill>
              <a:srgbClr val="000000"/>
            </a:solidFill>
            <a:latin typeface="Segoe UI"/>
            <a:ea typeface="+mn-ea"/>
            <a:cs typeface="+mn-cs"/>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sp:txBody>
      <dsp:txXfrm>
        <a:off x="9009529" y="702732"/>
        <a:ext cx="1834839" cy="7938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Session</a:t>
          </a:r>
          <a:endParaRPr lang="pt-PT" sz="2000" kern="1200">
            <a:solidFill>
              <a:srgbClr val="000000"/>
            </a:solidFill>
            <a:latin typeface="Segoe UI"/>
            <a:ea typeface="+mn-ea"/>
            <a:cs typeface="+mn-cs"/>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chemeClr val="accent2">
            <a:hueOff val="-2000623"/>
            <a:satOff val="41537"/>
            <a:lumOff val="441"/>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sk</a:t>
          </a:r>
          <a:endParaRPr lang="pt-PT" sz="2000" kern="1200" dirty="0"/>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Worker</a:t>
          </a:r>
          <a:endParaRPr lang="pt-PT" sz="2000" kern="1200" dirty="0">
            <a:solidFill>
              <a:srgbClr val="000000"/>
            </a:solidFill>
            <a:latin typeface="Segoe UI"/>
            <a:ea typeface="+mn-ea"/>
            <a:cs typeface="+mn-cs"/>
          </a:endParaRPr>
        </a:p>
      </dsp:txBody>
      <dsp:txXfrm>
        <a:off x="9009529" y="702732"/>
        <a:ext cx="1834839" cy="79383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chemeClr val="accent2">
            <a:hueOff val="-2667497"/>
            <a:satOff val="55382"/>
            <a:lumOff val="588"/>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Worker</a:t>
          </a:r>
          <a:endParaRPr lang="pt-PT" sz="2000" kern="1200" dirty="0"/>
        </a:p>
      </dsp:txBody>
      <dsp:txXfrm>
        <a:off x="9009529" y="702732"/>
        <a:ext cx="1834839" cy="79383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0.12.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20/2023</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33.xml"/><Relationship Id="rId6" Type="http://schemas.openxmlformats.org/officeDocument/2006/relationships/hyperlink" Target="http://msdn.microsoft.com/en-us/library/ms190219.aspx" TargetMode="External"/><Relationship Id="rId5" Type="http://schemas.openxmlformats.org/officeDocument/2006/relationships/hyperlink" Target="http://msdn.microsoft.com/en-us/library/ms176043.aspx" TargetMode="External"/><Relationship Id="rId4" Type="http://schemas.openxmlformats.org/officeDocument/2006/relationships/hyperlink" Target="http://msdn.microsoft.com/en-us/library/ms189267.aspx"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41.xml"/><Relationship Id="rId4" Type="http://schemas.openxmlformats.org/officeDocument/2006/relationships/hyperlink" Target="https://technet.microsoft.com/en-us/library/cc917684.aspx#XSLTsection129121120120"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4.xml"/><Relationship Id="rId7" Type="http://schemas.openxmlformats.org/officeDocument/2006/relationships/hyperlink" Target="https://techcommunity.microsoft.com/t5/sql-server/sql-server-2019-intelligent-performance-worker-migration/ba-p/939610" TargetMode="External"/><Relationship Id="rId2" Type="http://schemas.openxmlformats.org/officeDocument/2006/relationships/notesMaster" Target="../notesMasters/notesMaster1.xml"/><Relationship Id="rId1" Type="http://schemas.openxmlformats.org/officeDocument/2006/relationships/tags" Target="../tags/tag43.xml"/><Relationship Id="rId6" Type="http://schemas.openxmlformats.org/officeDocument/2006/relationships/hyperlink" Target="https://docs.microsoft.com/en-us/archive/blogs/bobsql/sql-2016-it-just-runs-faster-updated-scheduling-algorithms" TargetMode="External"/><Relationship Id="rId5" Type="http://schemas.openxmlformats.org/officeDocument/2006/relationships/hyperlink" Target="http://msdn.microsoft.com/en-us/library/ms187104.aspx" TargetMode="External"/><Relationship Id="rId4" Type="http://schemas.openxmlformats.org/officeDocument/2006/relationships/hyperlink" Target="http://msdn.microsoft.com/en-us/library/ee210585.aspx"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technet.microsoft.com/en-us/library/cc917684.aspx#XSLTsection129121120120"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52.xml"/><Relationship Id="rId5" Type="http://schemas.openxmlformats.org/officeDocument/2006/relationships/hyperlink" Target="https://www.sqlskills.com/help/sql-server-performance-tuning-using-wait-statistics" TargetMode="External"/><Relationship Id="rId4" Type="http://schemas.openxmlformats.org/officeDocument/2006/relationships/hyperlink" Target="http://technet.microsoft.com/en-us/library/cc966413.aspx"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notesMaster" Target="../notesMasters/notesMaster1.xml"/><Relationship Id="rId1" Type="http://schemas.openxmlformats.org/officeDocument/2006/relationships/tags" Target="../tags/tag57.xml"/><Relationship Id="rId5" Type="http://schemas.openxmlformats.org/officeDocument/2006/relationships/hyperlink" Target="https://msdn.microsoft.com/en-us/library/ms179984.aspx" TargetMode="External"/><Relationship Id="rId4" Type="http://schemas.openxmlformats.org/officeDocument/2006/relationships/hyperlink" Target="http://technet.microsoft.com/en-us/library/cc966413.aspx" TargetMode="External"/></Relationships>
</file>

<file path=ppt/notesSlides/_rels/notesSlide32.xml.rels><?xml version="1.0" encoding="UTF-8" standalone="yes"?>
<Relationships xmlns="http://schemas.openxmlformats.org/package/2006/relationships"><Relationship Id="rId8" Type="http://schemas.openxmlformats.org/officeDocument/2006/relationships/hyperlink" Target="http://msdn.microsoft.com/en-us/library/ms179984.aspx" TargetMode="External"/><Relationship Id="rId3" Type="http://schemas.openxmlformats.org/officeDocument/2006/relationships/slide" Target="../slides/slide37.xml"/><Relationship Id="rId7" Type="http://schemas.openxmlformats.org/officeDocument/2006/relationships/hyperlink" Target="http://blogs.msdn.com/b/psssql/archive/2009/11/03/the-sql-server-wait-type-repository.aspx" TargetMode="External"/><Relationship Id="rId2" Type="http://schemas.openxmlformats.org/officeDocument/2006/relationships/notesMaster" Target="../notesMasters/notesMaster1.xml"/><Relationship Id="rId1" Type="http://schemas.openxmlformats.org/officeDocument/2006/relationships/tags" Target="../tags/tag59.xml"/><Relationship Id="rId6" Type="http://schemas.openxmlformats.org/officeDocument/2006/relationships/hyperlink" Target="https://msdn.microsoft.com/library/ms177648.aspx" TargetMode="External"/><Relationship Id="rId5" Type="http://schemas.openxmlformats.org/officeDocument/2006/relationships/hyperlink" Target="https://msdn.microsoft.com/en-us/library/ms188743.aspx" TargetMode="External"/><Relationship Id="rId4" Type="http://schemas.openxmlformats.org/officeDocument/2006/relationships/hyperlink" Target="https://msdn.microsoft.com/en-us/library/ms179984.aspx"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sqlperformance.com/2018/10/sql-performance/top-wait-stats" TargetMode="External"/><Relationship Id="rId2" Type="http://schemas.openxmlformats.org/officeDocument/2006/relationships/slide" Target="../slides/slide38.xml"/><Relationship Id="rId1" Type="http://schemas.openxmlformats.org/officeDocument/2006/relationships/notesMaster" Target="../notesMasters/notesMaster1.xml"/><Relationship Id="rId5" Type="http://schemas.openxmlformats.org/officeDocument/2006/relationships/hyperlink" Target="http://blogs.msdn.com/b/blogdoezequiel/archive/2012/09/18/sql-swiss-army-knife-11-1-locking-blocking-and-active-transactions.aspx" TargetMode="External"/><Relationship Id="rId4" Type="http://schemas.openxmlformats.org/officeDocument/2006/relationships/hyperlink" Target="https://www.sqlskills.com/help/waits/"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39.xml"/><Relationship Id="rId7" Type="http://schemas.openxmlformats.org/officeDocument/2006/relationships/hyperlink" Target="http://technet.microsoft.com/en-us/library/cc293620.aspx" TargetMode="External"/><Relationship Id="rId2" Type="http://schemas.openxmlformats.org/officeDocument/2006/relationships/notesMaster" Target="../notesMasters/notesMaster1.xml"/><Relationship Id="rId1" Type="http://schemas.openxmlformats.org/officeDocument/2006/relationships/tags" Target="../tags/tag62.xml"/><Relationship Id="rId6" Type="http://schemas.openxmlformats.org/officeDocument/2006/relationships/hyperlink" Target="http://blogs.msdn.com/b/psssql/archive/2012/12/20/how-it-works-cmemthread-and-debugging-them.aspx" TargetMode="External"/><Relationship Id="rId5" Type="http://schemas.openxmlformats.org/officeDocument/2006/relationships/hyperlink" Target="http://technet.microsoft.com/en-us/library/ms188743.aspx" TargetMode="External"/><Relationship Id="rId4" Type="http://schemas.openxmlformats.org/officeDocument/2006/relationships/hyperlink" Target="http://technet.microsoft.com/en-us/library/cc917684.aspx"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blogs.msdn.com/b/sqlosteam/archive/2010/06/23/sqlos-resources.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24.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26.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50000"/>
              </a:lnSpc>
              <a:buFont typeface="+mj-lt"/>
              <a:buAutoNum type="arabicPeriod"/>
            </a:pPr>
            <a:r>
              <a:rPr lang="en-US" dirty="0"/>
              <a:t>How does the SQL Server Operating System improve the efficiency of the SQL Server database engine code?</a:t>
            </a:r>
          </a:p>
          <a:p>
            <a:pPr lvl="1">
              <a:lnSpc>
                <a:spcPct val="150000"/>
              </a:lnSpc>
            </a:pPr>
            <a:r>
              <a:rPr lang="en-US" dirty="0"/>
              <a:t>SQL Server Operating System helps to improve the efficiency by centralizing common low-level tasks within the SQL Server process allowing other components to focus on their main functions and preventing duplication of code. </a:t>
            </a:r>
          </a:p>
          <a:p>
            <a:pPr lvl="1">
              <a:lnSpc>
                <a:spcPct val="150000"/>
              </a:lnSpc>
            </a:pPr>
            <a:r>
              <a:rPr lang="en-US" dirty="0"/>
              <a:t>It also makes updating code to respond to hardware and operating system changes easier.</a:t>
            </a:r>
          </a:p>
          <a:p>
            <a:pPr marL="342900" indent="-342900">
              <a:lnSpc>
                <a:spcPct val="150000"/>
              </a:lnSpc>
              <a:buFont typeface="+mj-lt"/>
              <a:buAutoNum type="arabicPeriod"/>
            </a:pPr>
            <a:r>
              <a:rPr lang="en-US" dirty="0"/>
              <a:t>What are the two main functions of the SQL Server Operating System?</a:t>
            </a:r>
          </a:p>
          <a:p>
            <a:pPr lvl="1">
              <a:lnSpc>
                <a:spcPct val="150000"/>
              </a:lnSpc>
            </a:pPr>
            <a:r>
              <a:rPr lang="en-US" dirty="0"/>
              <a:t>The two main functions of SQL Server Operating System are: </a:t>
            </a:r>
          </a:p>
          <a:p>
            <a:pPr marL="1085850" lvl="2" indent="-171450"/>
            <a:r>
              <a:rPr lang="en-US" dirty="0"/>
              <a:t>Resource Management</a:t>
            </a:r>
          </a:p>
          <a:p>
            <a:pPr marL="1085850" lvl="2" indent="-171450"/>
            <a:r>
              <a:rPr lang="en-US" dirty="0"/>
              <a:t>Monitoring</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35145362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QL Server Scheduling Terminology</a:t>
            </a:r>
          </a:p>
          <a:p>
            <a:r>
              <a:rPr lang="en-US" b="0" dirty="0"/>
              <a:t>A </a:t>
            </a:r>
            <a:r>
              <a:rPr lang="en-US" b="1" dirty="0"/>
              <a:t>batch</a:t>
            </a:r>
            <a:r>
              <a:rPr lang="en-US" b="0" dirty="0"/>
              <a:t> is a query or a set of queries</a:t>
            </a:r>
            <a:r>
              <a:rPr lang="en-US" b="0" baseline="0" dirty="0"/>
              <a:t> being executed as a whole, it is basically everything between the GO separator as the GO command is a batch terminator.</a:t>
            </a:r>
            <a:endParaRPr lang="en-US" b="0" dirty="0"/>
          </a:p>
          <a:p>
            <a:r>
              <a:rPr lang="en-US" b="0" dirty="0"/>
              <a:t>The GO terminator determines what is going to be sent to SQL Server to be executed. A batch is a single unit of code that is sent to SQL Server, it can be one query</a:t>
            </a:r>
            <a:r>
              <a:rPr lang="en-US" b="0" baseline="0" dirty="0"/>
              <a:t> or many queries.</a:t>
            </a:r>
            <a:r>
              <a:rPr lang="en-US" b="0" dirty="0"/>
              <a:t> Internally, a batch from the client</a:t>
            </a:r>
            <a:r>
              <a:rPr lang="en-US" b="0" baseline="0" dirty="0"/>
              <a:t> to the SQL Server is seen as a request, a request for work to be done.</a:t>
            </a:r>
          </a:p>
          <a:p>
            <a:endParaRPr lang="en-US" b="0" baseline="0"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b="0" baseline="0" dirty="0"/>
              <a:t>All of the active requests can be seen in </a:t>
            </a:r>
            <a:r>
              <a:rPr lang="en-US" dirty="0"/>
              <a:t>sys.dm_exec_requests. If your query is</a:t>
            </a:r>
            <a:r>
              <a:rPr lang="en-US" baseline="0" dirty="0"/>
              <a:t> completed and your session is still open and idle it is not going to show up in sys.dm_exec_requests. It is only something that is actively executing a command or a request.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0" baseline="0"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b="0" baseline="0" dirty="0"/>
              <a:t>A </a:t>
            </a:r>
            <a:r>
              <a:rPr lang="en-US" b="1" baseline="0" dirty="0"/>
              <a:t>task</a:t>
            </a:r>
            <a:r>
              <a:rPr lang="en-US" b="0" baseline="0" dirty="0"/>
              <a:t> is a unit of work that is scheduled by SQL Server. A request or a batch will have one or more tasks. A very simple query will have one task, but </a:t>
            </a:r>
            <a:r>
              <a:rPr lang="en-US" b="0" u="sng" baseline="0" dirty="0"/>
              <a:t>a more complicated query such as one that runs in parallel will have multiple tasks</a:t>
            </a:r>
            <a:r>
              <a:rPr lang="en-US" b="0" baseline="0" dirty="0"/>
              <a:t>. If you have a large query that runs in parallel and it is broken into separate parts then that query is going to have multiple tasks. You can monitor with </a:t>
            </a:r>
            <a:r>
              <a:rPr lang="en-US" dirty="0"/>
              <a:t>sys.dm_os_task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A </a:t>
            </a:r>
            <a:r>
              <a:rPr lang="en-US" b="1" dirty="0"/>
              <a:t>worker thread</a:t>
            </a:r>
            <a:r>
              <a:rPr lang="en-US" b="1" baseline="0" dirty="0"/>
              <a:t> </a:t>
            </a:r>
            <a:r>
              <a:rPr lang="en-US" b="0" baseline="0" dirty="0"/>
              <a:t>is a thread that is assigned to a task to do the work the task requires. This is a logical thread in the SQL Server process. The SQL Server process will have many worker threads. The number of worker threads we have is dynamic. SQL Server will spin up additional threads based on what the current workload is. After the task is complete, the worker thread that was assigned goes back into the pool and will be assigned to another thread when needed from the pool. This can be m</a:t>
            </a:r>
            <a:r>
              <a:rPr lang="en-US" dirty="0"/>
              <a:t>onitored with </a:t>
            </a:r>
            <a:r>
              <a:rPr lang="en-US" dirty="0" err="1"/>
              <a:t>sys.dm_os_workers</a:t>
            </a:r>
            <a:r>
              <a:rPr lang="en-US" dirty="0"/>
              <a:t>.</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These</a:t>
            </a:r>
            <a:r>
              <a:rPr lang="en-US" baseline="0" dirty="0"/>
              <a:t> worker threads are being used to send work out to Windows for the CPUs</a:t>
            </a:r>
            <a:r>
              <a:rPr lang="en-US" dirty="0"/>
              <a:t> </a:t>
            </a:r>
            <a:r>
              <a:rPr lang="en-US" baseline="0" dirty="0"/>
              <a:t>to be executed. So the worker threads in SQL Server will map to an operating system-level thread which is where the work is actually being done. We are managing these threads internally with an internal scheduler but we are also farming them out to the Windows OS to be executed on the CPU so they end up going through the Windows scheduler as well. </a:t>
            </a:r>
            <a:endParaRPr lang="en-US" dirty="0"/>
          </a:p>
          <a:p>
            <a:r>
              <a:rPr lang="en-US" b="1" dirty="0"/>
              <a:t>Key Points</a:t>
            </a:r>
            <a:r>
              <a:rPr lang="en-US" dirty="0"/>
              <a:t>:</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pPr>
              <a:spcAft>
                <a:spcPts val="600"/>
              </a:spcAft>
            </a:pPr>
            <a:endParaRPr lang="en-US" dirty="0"/>
          </a:p>
          <a:p>
            <a:pPr>
              <a:spcAft>
                <a:spcPts val="600"/>
              </a:spcAft>
            </a:pPr>
            <a:r>
              <a:rPr lang="en-US" dirty="0"/>
              <a:t>The default maximum number of worker threads can be calculated using the following formula:</a:t>
            </a:r>
          </a:p>
          <a:p>
            <a:pPr>
              <a:spcAft>
                <a:spcPts val="600"/>
              </a:spcAft>
            </a:pPr>
            <a:r>
              <a:rPr lang="en-US" dirty="0"/>
              <a:t>Maximum worker threads = (512+ (&lt;# of processors&gt; -4) * 16)</a:t>
            </a:r>
          </a:p>
          <a:p>
            <a:endParaRPr lang="en-US" b="1" dirty="0"/>
          </a:p>
          <a:p>
            <a:r>
              <a:rPr lang="en-US" b="1" dirty="0"/>
              <a:t>Additional Reading:</a:t>
            </a:r>
          </a:p>
          <a:p>
            <a:r>
              <a:rPr lang="en-US" i="1" dirty="0"/>
              <a:t>SQL Server Batch or Task Scheduling</a:t>
            </a:r>
          </a:p>
          <a:p>
            <a:r>
              <a:rPr lang="en-US" dirty="0">
                <a:hlinkClick r:id="rId4"/>
              </a:rPr>
              <a:t>http://msdn.microsoft.com/en-us/library/ms189267.aspx</a:t>
            </a:r>
            <a:endParaRPr lang="en-US" dirty="0"/>
          </a:p>
          <a:p>
            <a:r>
              <a:rPr lang="en-US" i="1" dirty="0"/>
              <a:t>Thread and Task Architecture</a:t>
            </a:r>
          </a:p>
          <a:p>
            <a:r>
              <a:rPr lang="en-US" dirty="0">
                <a:hlinkClick r:id="rId5"/>
              </a:rPr>
              <a:t>http://msdn.microsoft.com/en-us/library/ms176043.aspx</a:t>
            </a:r>
            <a:endParaRPr lang="en-US" dirty="0"/>
          </a:p>
          <a:p>
            <a:r>
              <a:rPr lang="en-US" i="1" dirty="0"/>
              <a:t>Configure the max worker threads Server Configuration Option</a:t>
            </a:r>
          </a:p>
          <a:p>
            <a:r>
              <a:rPr lang="en-US" dirty="0">
                <a:hlinkClick r:id="rId6"/>
              </a:rPr>
              <a:t>http://msdn.microsoft.com/en-us/library/ms190219.aspx</a:t>
            </a:r>
            <a:endParaRPr lang="en-US" dirty="0"/>
          </a:p>
          <a:p>
            <a:endParaRPr lang="en-US" b="1"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6</a:t>
            </a:fld>
            <a:endParaRPr lang="en-US"/>
          </a:p>
        </p:txBody>
      </p:sp>
      <p:sp>
        <p:nvSpPr>
          <p:cNvPr id="6" name="Rectangular Callout 5"/>
          <p:cNvSpPr/>
          <p:nvPr/>
        </p:nvSpPr>
        <p:spPr>
          <a:xfrm>
            <a:off x="7010400" y="3200400"/>
            <a:ext cx="4419600" cy="2971800"/>
          </a:xfrm>
          <a:prstGeom prst="wedgeRectCallout">
            <a:avLst>
              <a:gd name="adj1" fmla="val -136241"/>
              <a:gd name="adj2" fmla="val -4123"/>
            </a:avLst>
          </a:prstGeom>
        </p:spPr>
        <p:style>
          <a:lnRef idx="1">
            <a:schemeClr val="accent1"/>
          </a:lnRef>
          <a:fillRef idx="3">
            <a:schemeClr val="accent1"/>
          </a:fillRef>
          <a:effectRef idx="2">
            <a:schemeClr val="accent1"/>
          </a:effectRef>
          <a:fontRef idx="minor">
            <a:schemeClr val="lt1"/>
          </a:fontRef>
        </p:style>
        <p:txBody>
          <a:bodyPr rtlCol="0" anchor="ctr"/>
          <a:lstStyle/>
          <a:p>
            <a:r>
              <a:rPr lang="en-CA" sz="1400"/>
              <a:t>Although the term 'execute' is used commonly in jargon, such as in 'execute a query', it should be avoided whenever possible in Microsoft content because of its violent and militaristic connotations. Do not use 'execute' in content for home users or information workers. Use 'run' instead. If the user interface includes 'execute', the user or program action is still run. Always use 'run' in the context of macros and queries. 'Execute' is acceptable in content for software developers because it has become ingrained, especially in the passive voice. 'Run' is preferable, however, where it does not cause any loss of meaning.</a:t>
            </a:r>
          </a:p>
          <a:p>
            <a:endParaRPr lang="en-CA" sz="1400"/>
          </a:p>
          <a:p>
            <a:r>
              <a:rPr lang="en-CA" sz="1400"/>
              <a:t>Please check all instances in the document.</a:t>
            </a:r>
            <a:endParaRPr lang="en-US" sz="1400"/>
          </a:p>
        </p:txBody>
      </p:sp>
      <p:sp>
        <p:nvSpPr>
          <p:cNvPr id="7" name="Rectangular Callout 6"/>
          <p:cNvSpPr/>
          <p:nvPr/>
        </p:nvSpPr>
        <p:spPr>
          <a:xfrm>
            <a:off x="7010400" y="6248400"/>
            <a:ext cx="2853994" cy="1066800"/>
          </a:xfrm>
          <a:prstGeom prst="wedgeRectCallout">
            <a:avLst>
              <a:gd name="adj1" fmla="val -225872"/>
              <a:gd name="adj2" fmla="val -106139"/>
            </a:avLst>
          </a:prstGeom>
        </p:spPr>
        <p:style>
          <a:lnRef idx="1">
            <a:schemeClr val="accent1"/>
          </a:lnRef>
          <a:fillRef idx="3">
            <a:schemeClr val="accent1"/>
          </a:fillRef>
          <a:effectRef idx="2">
            <a:schemeClr val="accent1"/>
          </a:effectRef>
          <a:fontRef idx="minor">
            <a:schemeClr val="lt1"/>
          </a:fontRef>
        </p:style>
        <p:txBody>
          <a:bodyPr rtlCol="0" anchor="ctr"/>
          <a:lstStyle/>
          <a:p>
            <a:r>
              <a:rPr lang="en-CA" sz="1400"/>
              <a:t>I changed this to remove bold and underline as it is against Microsoft style purely for emphasis. Please remove such formatting throughout</a:t>
            </a:r>
            <a:endParaRPr lang="en-US" sz="1400"/>
          </a:p>
        </p:txBody>
      </p:sp>
      <p:sp>
        <p:nvSpPr>
          <p:cNvPr id="11" name="Rectangular Callout 10"/>
          <p:cNvSpPr/>
          <p:nvPr/>
        </p:nvSpPr>
        <p:spPr>
          <a:xfrm>
            <a:off x="-1524000" y="7543800"/>
            <a:ext cx="2241235" cy="1318437"/>
          </a:xfrm>
          <a:prstGeom prst="wedgeRectCallout">
            <a:avLst>
              <a:gd name="adj1" fmla="val 52694"/>
              <a:gd name="adj2" fmla="val -8800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a:t>
            </a:r>
          </a:p>
        </p:txBody>
      </p:sp>
    </p:spTree>
    <p:extLst>
      <p:ext uri="{BB962C8B-B14F-4D97-AF65-F5344CB8AC3E}">
        <p14:creationId xmlns:p14="http://schemas.microsoft.com/office/powerpoint/2010/main" val="9378094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7</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2745574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8</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3219141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9</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1509169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0</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31983483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1</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6963426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1_SQL_Architecture\</a:t>
            </a:r>
            <a:r>
              <a:rPr lang="en-US" sz="700" b="0" dirty="0"/>
              <a:t>Execution_Session_DMV.sql</a:t>
            </a:r>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2</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31720412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Key Points:</a:t>
            </a:r>
          </a:p>
          <a:p>
            <a:r>
              <a:rPr lang="en-US" dirty="0"/>
              <a:t>Preemptive mode means non–cooperative. If a scheduler quantum time allocated to a particular thread is exceeded or if a high-priority task needs to be executed, then the operating</a:t>
            </a:r>
            <a:r>
              <a:rPr lang="en-US" baseline="0" dirty="0"/>
              <a:t> system </a:t>
            </a:r>
            <a:r>
              <a:rPr lang="en-US" dirty="0"/>
              <a:t>will interrupt the previous processes and</a:t>
            </a:r>
            <a:r>
              <a:rPr lang="en-US" baseline="0" dirty="0"/>
              <a:t> run </a:t>
            </a:r>
            <a:r>
              <a:rPr lang="en-US" dirty="0"/>
              <a:t>the high-priority task by maintaining a queue of suspended or runnable tasks. This is also the running mode of some low-level SQLOS actions, such as doing physical I/O, or running external code such as extended stored procedur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rgbClr val="000000"/>
                </a:solidFill>
                <a:latin typeface="Segoe UI Light" panose="020B0502040204020203" pitchFamily="34" charset="0"/>
                <a:cs typeface="Segoe UI Light" panose="020B0502040204020203" pitchFamily="34" charset="0"/>
              </a:rPr>
              <a:t>Preemptive mode used in SQL Server for external code calls, CLR with an UNSAFE assemblies, APIs that could block for extended periods (example –extended stored procedures).</a:t>
            </a:r>
          </a:p>
          <a:p>
            <a:endParaRPr lang="en-US" dirty="0"/>
          </a:p>
          <a:p>
            <a:r>
              <a:rPr lang="en-US" dirty="0"/>
              <a:t>Non-preemptive mode means it is cooperative. The underlying operating system will not interrupt the currently running process, and instead SQL Server manages all thread priorities, voluntarily yielding when necessary.</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rgbClr val="000000"/>
                </a:solidFill>
                <a:latin typeface="Segoe UI Light" panose="020B0502040204020203" pitchFamily="34" charset="0"/>
                <a:cs typeface="Segoe UI Light" panose="020B0502040204020203" pitchFamily="34" charset="0"/>
              </a:rPr>
              <a:t>SQL Server developers also programmed some predetermined voluntary yields to avoid starvation of other threads</a:t>
            </a:r>
          </a:p>
          <a:p>
            <a:endParaRPr lang="en-US" dirty="0"/>
          </a:p>
          <a:p>
            <a:r>
              <a:rPr lang="en-US" b="1" dirty="0"/>
              <a:t>Additional Reading:</a:t>
            </a:r>
          </a:p>
          <a:p>
            <a:r>
              <a:rPr lang="en-US" dirty="0"/>
              <a:t>How To Diagnose and Correct Errors 17883, 17884, 17887, and 17888 (</a:t>
            </a:r>
            <a:r>
              <a:rPr lang="en-US" dirty="0">
                <a:hlinkClick r:id="rId4"/>
              </a:rPr>
              <a:t>https://technet.microsoft.com/en-us/library/cc917684.aspx#XSLTsection129121120120</a:t>
            </a:r>
            <a:r>
              <a:rPr lang="en-US" dirty="0"/>
              <a:t>)</a:t>
            </a:r>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007703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20/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QL Server Task Scheduling</a:t>
            </a:r>
          </a:p>
          <a:p>
            <a:r>
              <a:rPr lang="en-US" b="0" dirty="0"/>
              <a:t>To manage those tasks, we have schedulers within the SQLOS. We have one scheduler per core or</a:t>
            </a:r>
            <a:r>
              <a:rPr lang="en-US" b="0" baseline="0" dirty="0"/>
              <a:t> logical processor, what that means is if I have one quad core processor in my server internally, I have four user mode schedulers. These are schedulers that</a:t>
            </a:r>
            <a:r>
              <a:rPr lang="en-US" b="0" dirty="0"/>
              <a:t> are </a:t>
            </a:r>
            <a:r>
              <a:rPr lang="en-US" b="0" baseline="0" dirty="0"/>
              <a:t>used to execute user tasks. </a:t>
            </a:r>
            <a:r>
              <a:rPr lang="en-US" b="0" u="sng" baseline="0" dirty="0"/>
              <a:t>If the system is hyperthreaded, it will increase the number of user mode schedulers.</a:t>
            </a:r>
            <a:r>
              <a:rPr lang="en-US" b="0" baseline="0" dirty="0"/>
              <a:t> SQL Server sees it as an additional logical CPU. </a:t>
            </a:r>
            <a:endParaRPr lang="en-US" b="0" dirty="0"/>
          </a:p>
          <a:p>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QL Server Task Scheduling handles scheduling tasks, I/O, and synchronization of other resources that tasks require during the scope of execution.</a:t>
            </a:r>
          </a:p>
          <a:p>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Work requests are balanced across schedulers based on the number of active tasks. So, when a new task comes into</a:t>
            </a:r>
            <a:r>
              <a:rPr lang="en-US" baseline="0" dirty="0"/>
              <a:t> SQL Server, it will be assigned to the scheduler that has the fewest number of active tasks. You may find that you have idle tasks laying around that are assigned to schedulers. Those are not considered when we are doing this load balancing. This is a real active task count so we have an even balance across the CP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QL Server Task Scheduling can be monitored by </a:t>
            </a:r>
            <a:r>
              <a:rPr lang="en-US" dirty="0"/>
              <a:t>using </a:t>
            </a:r>
            <a:r>
              <a:rPr lang="en-US" dirty="0" err="1"/>
              <a:t>sys.dm_os_schedulers</a:t>
            </a:r>
            <a:r>
              <a:rPr lang="en-US"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To give perspective on where the scheduler thing comes from,</a:t>
            </a:r>
            <a:r>
              <a:rPr lang="en-US" baseline="0" dirty="0"/>
              <a:t> back in the day when we had SQL Server 6.5, we relied almost entirely on the Windows operating system to schedule work for us. We eventually ran into bottlenecks because of</a:t>
            </a:r>
            <a:r>
              <a:rPr lang="en-US" dirty="0"/>
              <a:t> </a:t>
            </a:r>
            <a:r>
              <a:rPr lang="en-US" baseline="0" dirty="0"/>
              <a:t>this and we would see that the CPUs were tasked to do too much work, which resulted in the phenomenon called </a:t>
            </a:r>
            <a:r>
              <a:rPr lang="en-US" i="1" baseline="0" dirty="0"/>
              <a:t>context switching</a:t>
            </a:r>
            <a:r>
              <a:rPr lang="en-US" baseline="0" dirty="0"/>
              <a:t>. Context switching essentially means that the CPU is spending too much time switching between tasks and is not really doing anything useful.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 SQL Server 2000, we introduced the UMS (User Mode Scheduler), which was an early version of the SQLOS. The UMS had the main purpose of trying to make sure that we had only so many active tasks as can be handled by the CPUs. We found that performance was improved in doing this on multi-processor machines. This also maintained some additional context. We maintained context inside the SQL Server scheduler so those context switches do not have as dramatic of an effec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defTabSz="914400">
              <a:lnSpc>
                <a:spcPct val="100000"/>
              </a:lnSpc>
              <a:spcAft>
                <a:spcPts val="0"/>
              </a:spcAft>
              <a:defRPr/>
            </a:pPr>
            <a:r>
              <a:rPr lang="en-US" dirty="0"/>
              <a:t>The key point is that the operating system is a preemptive scheduler at its level and could switch SQL Server threads out. We try to prevent that by yielding the CPU. This means that when a task completes to a certain extent, it will yield the CPU and give way to whatever else that could be scheduled on the same CPU. </a:t>
            </a:r>
          </a:p>
          <a:p>
            <a:pPr defTabSz="914400">
              <a:lnSpc>
                <a:spcPct val="100000"/>
              </a:lnSpc>
              <a:spcAft>
                <a:spcPts val="0"/>
              </a:spcAft>
              <a:defRPr/>
            </a:pPr>
            <a:endParaRPr lang="en-US" dirty="0"/>
          </a:p>
          <a:p>
            <a:pPr defTabSz="914400">
              <a:lnSpc>
                <a:spcPct val="100000"/>
              </a:lnSpc>
              <a:spcAft>
                <a:spcPts val="0"/>
              </a:spcAft>
              <a:defRPr/>
            </a:pPr>
            <a:r>
              <a:rPr lang="en-US" dirty="0"/>
              <a:t>We have come a long way since the early days of scheduling, we do still rely on the operating system for some low-level scheduling, but SQL Server does its own yielding to make sure tasks get the time they need and we avoid CPU bottlenecks. </a:t>
            </a:r>
          </a:p>
          <a:p>
            <a:endParaRPr lang="en-US" b="1" dirty="0"/>
          </a:p>
          <a:p>
            <a:r>
              <a:rPr lang="en-US" b="1" dirty="0"/>
              <a:t>Key Points:</a:t>
            </a:r>
          </a:p>
          <a:p>
            <a:r>
              <a:rPr lang="en-US" dirty="0"/>
              <a:t>SQL Server will create one internal scheduler for each CPU (core or logical processor) that is detected. Work requests that need to be performed by SQL Server will be load-balanced across all the schedulers based on an internal calculation called </a:t>
            </a:r>
            <a:r>
              <a:rPr lang="en-US" i="1" dirty="0"/>
              <a:t>load factor</a:t>
            </a:r>
            <a:r>
              <a:rPr lang="en-US" dirty="0"/>
              <a:t>. When a task is enqueued on a scheduler, the load factor is increased. When a task is completed, the load factor is decreased. In this way, SQL Server can help ensure a balanced workload across all the CPUs.</a:t>
            </a:r>
          </a:p>
          <a:p>
            <a:endParaRPr lang="en-US" dirty="0"/>
          </a:p>
          <a:p>
            <a:r>
              <a:rPr lang="en-US" dirty="0"/>
              <a:t>While there is one scheduler per CPU, a scheduler is not necessarily bound to a particular CPU. After the thread has been handed off to the operating system by the scheduler, it will enter the operating system processor queue like any other process. The default behavior is to use all available CPUs and allow the operating system to balance the threads accordingly, but this can be changed by adjusting the processor affinity through the PROCESS AFFINITY server configuration.</a:t>
            </a:r>
          </a:p>
          <a:p>
            <a:endParaRPr lang="en-US" dirty="0"/>
          </a:p>
          <a:p>
            <a:r>
              <a:rPr lang="en-US" b="1" dirty="0"/>
              <a:t>Additional Reading:</a:t>
            </a:r>
          </a:p>
          <a:p>
            <a:r>
              <a:rPr lang="en-US" i="1" dirty="0"/>
              <a:t>ALTER SERVER CONFIGURATION (Transact-SQL)</a:t>
            </a:r>
          </a:p>
          <a:p>
            <a:r>
              <a:rPr lang="en-US" dirty="0">
                <a:hlinkClick r:id="rId4"/>
              </a:rPr>
              <a:t>http://msdn.microsoft.com/en-us/library/ee210585.aspx</a:t>
            </a:r>
            <a:endParaRPr lang="en-US" dirty="0"/>
          </a:p>
          <a:p>
            <a:endParaRPr lang="en-US" dirty="0"/>
          </a:p>
          <a:p>
            <a:r>
              <a:rPr lang="en-US" i="1" dirty="0"/>
              <a:t>affinity mask Server Configuration Option</a:t>
            </a:r>
          </a:p>
          <a:p>
            <a:r>
              <a:rPr lang="en-US" dirty="0">
                <a:hlinkClick r:id="rId5"/>
              </a:rPr>
              <a:t>http://msdn.microsoft.com/en-us/library/ms187104.aspx</a:t>
            </a:r>
            <a:endParaRPr lang="en-US" dirty="0"/>
          </a:p>
          <a:p>
            <a:endParaRPr lang="en-US" dirty="0"/>
          </a:p>
          <a:p>
            <a:r>
              <a:rPr lang="en-US" dirty="0"/>
              <a:t>SQL Server 2016 Scheduler Changes</a:t>
            </a:r>
          </a:p>
          <a:p>
            <a:r>
              <a:rPr lang="en-US" dirty="0">
                <a:hlinkClick r:id="rId6"/>
              </a:rPr>
              <a:t>https://docs.microsoft.com/en-us/archive/blogs/bobsql/sql-2016-it-just-runs-faster-updated-scheduling-algorithms</a:t>
            </a:r>
            <a:endParaRPr lang="en-US" dirty="0"/>
          </a:p>
          <a:p>
            <a:endParaRPr lang="en-US" dirty="0"/>
          </a:p>
          <a:p>
            <a:r>
              <a:rPr lang="en-US" dirty="0">
                <a:hlinkClick r:id="rId7"/>
              </a:rPr>
              <a:t>https://techcommunity.microsoft.com/t5/sql-server/sql-server-2019-intelligent-performance-worker-migration/ba-p/939610</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882" b="0" i="0" kern="1200" baseline="0" dirty="0">
                <a:solidFill>
                  <a:schemeClr val="tx1"/>
                </a:solidFill>
                <a:effectLst/>
                <a:latin typeface="+mn-lt"/>
                <a:ea typeface="+mn-ea"/>
                <a:cs typeface="+mn-cs"/>
              </a:rPr>
              <a:t>Worker migration allows an idle scheduler to migrate a worker from the runnable queue of another scheduler on the same NUMA node and immediately resume the task of the migrated worker. This enhancement provides more balanced CPU usage in situations where long-running tasks happen to be assigned to the same scheduler.</a:t>
            </a:r>
            <a:endParaRPr lang="en-US" baseline="0"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24</a:t>
            </a:fld>
            <a:endParaRPr lang="en-US"/>
          </a:p>
        </p:txBody>
      </p:sp>
      <p:sp>
        <p:nvSpPr>
          <p:cNvPr id="6" name="Rectangular Callout 5"/>
          <p:cNvSpPr/>
          <p:nvPr/>
        </p:nvSpPr>
        <p:spPr>
          <a:xfrm>
            <a:off x="6331057" y="3304929"/>
            <a:ext cx="2241235" cy="1318437"/>
          </a:xfrm>
          <a:prstGeom prst="wedgeRectCallout">
            <a:avLst>
              <a:gd name="adj1" fmla="val -172076"/>
              <a:gd name="adj2" fmla="val 4857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Please check for this globally. </a:t>
            </a:r>
          </a:p>
        </p:txBody>
      </p:sp>
      <p:sp>
        <p:nvSpPr>
          <p:cNvPr id="7" name="Rectangular Callout 6"/>
          <p:cNvSpPr/>
          <p:nvPr/>
        </p:nvSpPr>
        <p:spPr>
          <a:xfrm>
            <a:off x="1595879" y="3812955"/>
            <a:ext cx="1860235" cy="528108"/>
          </a:xfrm>
          <a:prstGeom prst="wedgeRectCallout">
            <a:avLst>
              <a:gd name="adj1" fmla="val 48438"/>
              <a:gd name="adj2" fmla="val 12856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hange to perform</a:t>
            </a:r>
          </a:p>
        </p:txBody>
      </p:sp>
      <p:sp>
        <p:nvSpPr>
          <p:cNvPr id="10" name="Rectangular Callout 9"/>
          <p:cNvSpPr/>
          <p:nvPr/>
        </p:nvSpPr>
        <p:spPr>
          <a:xfrm>
            <a:off x="6483457" y="4724401"/>
            <a:ext cx="2203343" cy="1752600"/>
          </a:xfrm>
          <a:prstGeom prst="wedgeRectCallout">
            <a:avLst>
              <a:gd name="adj1" fmla="val -165456"/>
              <a:gd name="adj2" fmla="val 6105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This entire section has a very conversational tone, which is not the norm for Microsoft courseware. Please revisit the notes section to see if the informal tone can be reduced. </a:t>
            </a:r>
          </a:p>
        </p:txBody>
      </p:sp>
      <p:sp>
        <p:nvSpPr>
          <p:cNvPr id="11" name="Rectangular Callout 10"/>
          <p:cNvSpPr/>
          <p:nvPr/>
        </p:nvSpPr>
        <p:spPr>
          <a:xfrm>
            <a:off x="6467183" y="6629400"/>
            <a:ext cx="2203343" cy="1752600"/>
          </a:xfrm>
          <a:prstGeom prst="wedgeRectCallout">
            <a:avLst>
              <a:gd name="adj1" fmla="val -169275"/>
              <a:gd name="adj2" fmla="val -328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UMS is not listed as an approved acronym in Term Studio. Please check if you still want to sue it and if the target audience would understand it.</a:t>
            </a:r>
          </a:p>
        </p:txBody>
      </p:sp>
      <p:sp>
        <p:nvSpPr>
          <p:cNvPr id="12" name="Rectangular Callout 11"/>
          <p:cNvSpPr/>
          <p:nvPr/>
        </p:nvSpPr>
        <p:spPr>
          <a:xfrm>
            <a:off x="526943" y="5410200"/>
            <a:ext cx="2203343" cy="1752600"/>
          </a:xfrm>
          <a:prstGeom prst="wedgeRectCallout">
            <a:avLst>
              <a:gd name="adj1" fmla="val -22368"/>
              <a:gd name="adj2" fmla="val 7482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changing to “The main purpose of UMS was to make sure that the number of active tasks was limited to what can be handled by the CPUs.”</a:t>
            </a:r>
          </a:p>
        </p:txBody>
      </p:sp>
    </p:spTree>
    <p:extLst>
      <p:ext uri="{BB962C8B-B14F-4D97-AF65-F5344CB8AC3E}">
        <p14:creationId xmlns:p14="http://schemas.microsoft.com/office/powerpoint/2010/main" val="2618754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Additional Reading:</a:t>
            </a:r>
          </a:p>
          <a:p>
            <a:r>
              <a:rPr lang="en-US" dirty="0"/>
              <a:t>How To Diagnose and Correct Errors 17883, 17884, 17887, and 17888 (</a:t>
            </a:r>
            <a:r>
              <a:rPr lang="pt-PT" dirty="0">
                <a:hlinkClick r:id="rId3"/>
              </a:rPr>
              <a:t>http://technet.microsoft.com/en-us/library/cc917684.aspx#XSLTsection129121120120</a:t>
            </a:r>
            <a:r>
              <a:rPr lang="pt-PT" dirty="0"/>
              <a:t>)</a:t>
            </a:r>
          </a:p>
          <a:p>
            <a:endParaRPr lang="en-GB"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chemeClr val="tx1"/>
                </a:solidFill>
                <a:cs typeface="Segoe UI Light" panose="020B0502040204020203" pitchFamily="34" charset="0"/>
              </a:rPr>
              <a:t>One cause of time-outs</a:t>
            </a:r>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9543898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8C86E77-7BC2-462A-8008-2CD2CA1D8D03}"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SQL Server Architecture, Scheduling, and Waits</a:t>
            </a:r>
          </a:p>
        </p:txBody>
      </p:sp>
    </p:spTree>
    <p:extLst>
      <p:ext uri="{BB962C8B-B14F-4D97-AF65-F5344CB8AC3E}">
        <p14:creationId xmlns:p14="http://schemas.microsoft.com/office/powerpoint/2010/main" val="7519447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0106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1_SQL_Architecture\</a:t>
            </a:r>
            <a:r>
              <a:rPr lang="en-US" sz="800" b="0" dirty="0"/>
              <a:t>Examine </a:t>
            </a:r>
            <a:r>
              <a:rPr lang="en-US" sz="800" b="0" dirty="0" err="1"/>
              <a:t>Schedulers.sql</a:t>
            </a:r>
            <a:endParaRPr lang="en-US" sz="800" b="0"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Quantum exceeded, client not consuming data fast enough, 64k of sort records generated</a:t>
            </a:r>
          </a:p>
          <a:p>
            <a:pPr marL="228600" indent="-228600">
              <a:buAutoNum type="arabicPeriod"/>
            </a:pPr>
            <a:r>
              <a:rPr lang="en-US"/>
              <a:t>4ms. The period of which a scheduler runs without having to yield.</a:t>
            </a:r>
          </a:p>
          <a:p>
            <a:pPr marL="228600" indent="-228600">
              <a:buAutoNum type="arabicPeriod"/>
            </a:pPr>
            <a:r>
              <a:rPr lang="en-US"/>
              <a:t>The OS is a general-purpose platform that does not understand SQL Server need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28717586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r>
              <a:rPr lang="en-US" dirty="0"/>
              <a:t>SQL Server has to handle a large number of requests with limited resources. Therefore, waiting and queuing is how SQL Server handles the requests.</a:t>
            </a:r>
          </a:p>
          <a:p>
            <a:r>
              <a:rPr lang="en-US" dirty="0"/>
              <a:t>Waits and Queues is a methodology of tuning by focusing on where SQL Server is spending most of its time waiting. Analyzing a task as it moves through the various queues in the scheduler reveals a lot about where it is spending its time.</a:t>
            </a:r>
          </a:p>
          <a:p>
            <a:pPr lvl="0"/>
            <a:endParaRPr lang="en-US" b="1" dirty="0"/>
          </a:p>
          <a:p>
            <a:r>
              <a:rPr lang="en-US" sz="900" kern="1200" dirty="0">
                <a:solidFill>
                  <a:schemeClr val="tx1"/>
                </a:solidFill>
                <a:effectLst/>
                <a:latin typeface="Segoe UI Light" pitchFamily="34" charset="0"/>
                <a:ea typeface="+mn-ea"/>
                <a:cs typeface="+mn-cs"/>
              </a:rPr>
              <a:t>As an application, SQL Server may request system resources as it executes a user query and waits for its request to be completed. </a:t>
            </a:r>
            <a:r>
              <a:rPr lang="en-US" sz="900" b="1" kern="1200" dirty="0">
                <a:solidFill>
                  <a:schemeClr val="tx1"/>
                </a:solidFill>
                <a:effectLst/>
                <a:latin typeface="Segoe UI Light" pitchFamily="34" charset="0"/>
                <a:ea typeface="+mn-ea"/>
                <a:cs typeface="+mn-cs"/>
              </a:rPr>
              <a:t>Waits</a:t>
            </a:r>
            <a:r>
              <a:rPr lang="en-US" sz="900" kern="1200" dirty="0">
                <a:solidFill>
                  <a:schemeClr val="tx1"/>
                </a:solidFill>
                <a:effectLst/>
                <a:latin typeface="Segoe UI Light" pitchFamily="34" charset="0"/>
                <a:ea typeface="+mn-ea"/>
                <a:cs typeface="+mn-cs"/>
              </a:rPr>
              <a:t> are represented by SQL Server wait statistics. Since SQL Server 2005, SQL Server tracks wait information any time that a user connection or </a:t>
            </a:r>
            <a:r>
              <a:rPr lang="en-US" sz="900" kern="1200" dirty="0" err="1">
                <a:solidFill>
                  <a:schemeClr val="tx1"/>
                </a:solidFill>
                <a:effectLst/>
                <a:latin typeface="Segoe UI Light" pitchFamily="34" charset="0"/>
                <a:ea typeface="+mn-ea"/>
                <a:cs typeface="+mn-cs"/>
              </a:rPr>
              <a:t>session_id</a:t>
            </a:r>
            <a:r>
              <a:rPr lang="en-US" sz="900" kern="1200" dirty="0">
                <a:solidFill>
                  <a:schemeClr val="tx1"/>
                </a:solidFill>
                <a:effectLst/>
                <a:latin typeface="Segoe UI Light" pitchFamily="34" charset="0"/>
                <a:ea typeface="+mn-ea"/>
                <a:cs typeface="+mn-cs"/>
              </a:rPr>
              <a:t> is waiting. This wait information is summarized and categorized across all connections so that a performance profile can be obtained for a given work load. Therefore, SQL Server wait types identify and categorize user (or thread) waits from an application workload or user perspectiv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Queues measure system resources and utilization. The </a:t>
            </a:r>
            <a:r>
              <a:rPr lang="en-US" sz="900" b="1" kern="1200" dirty="0">
                <a:solidFill>
                  <a:schemeClr val="tx1"/>
                </a:solidFill>
                <a:effectLst/>
                <a:latin typeface="Segoe UI Light" pitchFamily="34" charset="0"/>
                <a:ea typeface="+mn-ea"/>
                <a:cs typeface="+mn-cs"/>
              </a:rPr>
              <a:t>queues</a:t>
            </a:r>
            <a:r>
              <a:rPr lang="en-US" sz="900" kern="1200" dirty="0">
                <a:solidFill>
                  <a:schemeClr val="tx1"/>
                </a:solidFill>
                <a:effectLst/>
                <a:latin typeface="Segoe UI Light" pitchFamily="34" charset="0"/>
                <a:ea typeface="+mn-ea"/>
                <a:cs typeface="+mn-cs"/>
              </a:rPr>
              <a:t> part of performance is represented by Performance Monitor objects and counters and other sources of information. Performance Monitor counters measure various aspects of performance such as transfer rates for disks or the processor time consumed. SQL Server object counters are exposed to Performance Monitor using the dynamic management view (DMV) </a:t>
            </a:r>
            <a:r>
              <a:rPr lang="en-US" sz="900" i="1" kern="1200" dirty="0" err="1">
                <a:solidFill>
                  <a:schemeClr val="tx1"/>
                </a:solidFill>
                <a:effectLst/>
                <a:latin typeface="Segoe UI Light" pitchFamily="34" charset="0"/>
                <a:ea typeface="+mn-ea"/>
                <a:cs typeface="+mn-cs"/>
              </a:rPr>
              <a:t>sys.dm_os_performance_counters</a:t>
            </a:r>
            <a:r>
              <a:rPr lang="en-US" sz="900" i="1" kern="1200" dirty="0">
                <a:solidFill>
                  <a:schemeClr val="tx1"/>
                </a:solidFill>
                <a:effectLst/>
                <a:latin typeface="Segoe UI Light" pitchFamily="34" charset="0"/>
                <a:ea typeface="+mn-ea"/>
                <a:cs typeface="+mn-cs"/>
              </a:rPr>
              <a:t>.</a:t>
            </a:r>
            <a:r>
              <a:rPr lang="en-US" sz="900" kern="1200" dirty="0">
                <a:solidFill>
                  <a:schemeClr val="tx1"/>
                </a:solidFill>
                <a:effectLst/>
                <a:latin typeface="Segoe UI Light" pitchFamily="34" charset="0"/>
                <a:ea typeface="+mn-ea"/>
                <a:cs typeface="+mn-cs"/>
              </a:rPr>
              <a:t> Thus, Performance Monitor counters show performance from a resource point of view.  </a:t>
            </a:r>
          </a:p>
          <a:p>
            <a:pPr lvl="0"/>
            <a:endParaRPr lang="en-US" b="1" dirty="0"/>
          </a:p>
          <a:p>
            <a:pPr lvl="0"/>
            <a:endParaRPr lang="en-US" b="1" dirty="0"/>
          </a:p>
          <a:p>
            <a:pPr lvl="0"/>
            <a:endParaRPr lang="en-US" b="1" dirty="0"/>
          </a:p>
          <a:p>
            <a:pPr lvl="0"/>
            <a:r>
              <a:rPr lang="en-US" b="1" dirty="0"/>
              <a:t>Additional Reading:</a:t>
            </a:r>
          </a:p>
          <a:p>
            <a:pPr lvl="0"/>
            <a:r>
              <a:rPr lang="en-US" dirty="0"/>
              <a:t>SQL Server Performance Tuning – Waits and Queues (</a:t>
            </a:r>
            <a:r>
              <a:rPr lang="en-US" dirty="0">
                <a:hlinkClick r:id="rId4"/>
              </a:rPr>
              <a:t>http://technet.microsoft.com/en-us/library/cc966413.aspx</a:t>
            </a:r>
            <a:r>
              <a:rPr lang="en-US" dirty="0"/>
              <a:t>)</a:t>
            </a:r>
          </a:p>
          <a:p>
            <a:pPr lvl="0"/>
            <a:r>
              <a:rPr lang="en-US" dirty="0"/>
              <a:t>SQL Server Performance Tuning Using Wait Statistics: A Beginner’s Guide (</a:t>
            </a:r>
            <a:r>
              <a:rPr lang="en-US" dirty="0">
                <a:hlinkClick r:id="rId5"/>
              </a:rPr>
              <a:t>https://www.sqlskills.com/help/sql-server-performance-tuning-using-wait-statistics</a:t>
            </a:r>
            <a:r>
              <a:rPr lang="en-US" dirty="0"/>
              <a:t>)</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41303969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Key Points:</a:t>
            </a:r>
          </a:p>
          <a:p>
            <a:pPr>
              <a:spcAft>
                <a:spcPts val="600"/>
              </a:spcAft>
            </a:pPr>
            <a:r>
              <a:rPr lang="en-US" dirty="0"/>
              <a:t>Analyzing waits stats avoids troubleshooting the wrong bottleneck, allowing us to properly scope possible performance issues, and build the “troubleshooting story” by correlating with data from other tools, from </a:t>
            </a:r>
            <a:r>
              <a:rPr lang="en-US" dirty="0" err="1"/>
              <a:t>xEvents</a:t>
            </a:r>
            <a:r>
              <a:rPr lang="en-US" dirty="0"/>
              <a:t> to logs, Dynamic</a:t>
            </a:r>
            <a:r>
              <a:rPr lang="en-US" baseline="0" dirty="0"/>
              <a:t> Management Views (</a:t>
            </a:r>
            <a:r>
              <a:rPr lang="en-US" dirty="0"/>
              <a:t>DMVs) to execution plans. You might also find non-obvious performance bottlenecks.</a:t>
            </a:r>
          </a:p>
          <a:p>
            <a:pPr>
              <a:spcAft>
                <a:spcPts val="600"/>
              </a:spcAft>
            </a:pPr>
            <a:r>
              <a:rPr lang="en-US" dirty="0"/>
              <a:t>It is also where you will see the first signs of whether a troubleshooting exercise is successful or not.</a:t>
            </a:r>
            <a:endParaRPr lang="pt-PT" dirty="0"/>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2286000" y="3962400"/>
            <a:ext cx="2308779" cy="1137183"/>
          </a:xfrm>
          <a:prstGeom prst="wedgeRectCallout">
            <a:avLst>
              <a:gd name="adj1" fmla="val 84042"/>
              <a:gd name="adj2" fmla="val 2095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You spell out xEvents, DMVs and all other acronyms at the first instance. </a:t>
            </a:r>
          </a:p>
        </p:txBody>
      </p:sp>
    </p:spTree>
    <p:extLst>
      <p:ext uri="{BB962C8B-B14F-4D97-AF65-F5344CB8AC3E}">
        <p14:creationId xmlns:p14="http://schemas.microsoft.com/office/powerpoint/2010/main" val="1808039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334043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26714309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ample:</a:t>
            </a:r>
            <a:r>
              <a:rPr lang="en-US" dirty="0"/>
              <a:t> Two Logical Processors</a:t>
            </a:r>
          </a:p>
          <a:p>
            <a:endParaRPr lang="en-US" dirty="0"/>
          </a:p>
          <a:p>
            <a:pPr marL="232418" lvl="0" indent="-232418">
              <a:defRPr/>
            </a:pPr>
            <a:r>
              <a:rPr lang="en-US" b="1" dirty="0">
                <a:solidFill>
                  <a:prstClr val="black"/>
                </a:solidFill>
              </a:rPr>
              <a:t>Key Points</a:t>
            </a:r>
            <a:r>
              <a:rPr lang="en-US" dirty="0">
                <a:solidFill>
                  <a:prstClr val="black"/>
                </a:solidFill>
              </a:rPr>
              <a:t>:</a:t>
            </a:r>
          </a:p>
          <a:p>
            <a:pPr lvl="0">
              <a:spcAft>
                <a:spcPts val="600"/>
              </a:spcAft>
              <a:defRPr/>
            </a:pPr>
            <a:r>
              <a:rPr lang="en-US" dirty="0">
                <a:solidFill>
                  <a:prstClr val="black"/>
                </a:solidFill>
              </a:rPr>
              <a:t>SQL Server will create a scheduler for each logical CPU that is available on the system. Each one of these schedulers is responsible for managing the active tasks that are assigned to it and ensuring that one thread is always in the Running position, that is, it is being submitted to the operating system for execution on a CPU. </a:t>
            </a:r>
          </a:p>
          <a:p>
            <a:pPr lvl="0">
              <a:spcAft>
                <a:spcPts val="600"/>
              </a:spcAft>
              <a:defRPr/>
            </a:pPr>
            <a:r>
              <a:rPr lang="en-US" dirty="0">
                <a:solidFill>
                  <a:prstClr val="black"/>
                </a:solidFill>
              </a:rPr>
              <a:t>Because each scheduler represents one CPU, there can only be one task in the Running position at any given time. The other tasks will be in either the Runnable Queue (with a status of Runnable) or the Wait Queue (with a status of Suspended). Tasks in the Runnable Queue are experiencing Signal Waits. They are ready to be sent out to the CPU for execution, but are waiting for the Running position to be available. Tasks in the Wait Queue are waiting for some resource other than CPU. When a task is in the Wait Queue, it will have a Wait Type and a Wait Resource that indicate what it is waiting for.</a:t>
            </a:r>
          </a:p>
          <a:p>
            <a:pPr lvl="0">
              <a:spcAft>
                <a:spcPts val="600"/>
              </a:spcAft>
              <a:defRPr/>
            </a:pPr>
            <a:endParaRPr lang="en-US" dirty="0">
              <a:solidFill>
                <a:prstClr val="black"/>
              </a:solidFill>
            </a:endParaRPr>
          </a:p>
          <a:p>
            <a:pPr marL="232418" lvl="0" indent="-232418">
              <a:defRPr/>
            </a:pPr>
            <a:r>
              <a:rPr lang="en-US" b="1" dirty="0">
                <a:solidFill>
                  <a:prstClr val="black"/>
                </a:solidFill>
              </a:rPr>
              <a:t>Additional Reading:</a:t>
            </a:r>
          </a:p>
          <a:p>
            <a:r>
              <a:rPr lang="en-US" dirty="0">
                <a:solidFill>
                  <a:prstClr val="black"/>
                </a:solidFill>
              </a:rPr>
              <a:t>SQL Server Performance Tuning – Waits and Queues (</a:t>
            </a:r>
            <a:r>
              <a:rPr lang="en-US" dirty="0">
                <a:solidFill>
                  <a:prstClr val="black"/>
                </a:solidFill>
                <a:hlinkClick r:id="rId4"/>
              </a:rPr>
              <a:t>http://technet.microsoft.com/en-us/library/cc966413.aspx</a:t>
            </a:r>
            <a:r>
              <a:rPr lang="en-US" dirty="0">
                <a:solidFill>
                  <a:prstClr val="black"/>
                </a:solidFill>
              </a:rPr>
              <a:t>)</a:t>
            </a:r>
            <a:endParaRPr lang="en-US" b="1" dirty="0"/>
          </a:p>
          <a:p>
            <a:r>
              <a:rPr lang="pt-PT" dirty="0"/>
              <a:t>sys.dm_os_wait_stats </a:t>
            </a:r>
            <a:r>
              <a:rPr lang="en-US" dirty="0"/>
              <a:t>(</a:t>
            </a:r>
            <a:r>
              <a:rPr lang="en-US" dirty="0">
                <a:hlinkClick r:id="rId5"/>
              </a:rPr>
              <a:t>https://msdn.microsoft.com/en-us/library/ms179984.aspx</a:t>
            </a:r>
            <a:r>
              <a:rPr lang="en-US" dirty="0"/>
              <a:t>)</a:t>
            </a:r>
          </a:p>
          <a:p>
            <a:endParaRPr lang="en-GB" dirty="0"/>
          </a:p>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Rectangular Callout 8"/>
          <p:cNvSpPr/>
          <p:nvPr/>
        </p:nvSpPr>
        <p:spPr>
          <a:xfrm>
            <a:off x="-1534886" y="533399"/>
            <a:ext cx="2220686" cy="2002971"/>
          </a:xfrm>
          <a:prstGeom prst="wedgeRectCallout">
            <a:avLst>
              <a:gd name="adj1" fmla="val 82723"/>
              <a:gd name="adj2" fmla="val 1793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a:t>GLOBAL: Do not capitalize generic terms. Please note that we do not capitalize terms unless they are from the UI or are feature or product names. Please consider lowercasing such terms throughout this document.</a:t>
            </a:r>
            <a:endParaRPr lang="en-US" sz="1200"/>
          </a:p>
        </p:txBody>
      </p:sp>
    </p:spTree>
    <p:extLst>
      <p:ext uri="{BB962C8B-B14F-4D97-AF65-F5344CB8AC3E}">
        <p14:creationId xmlns:p14="http://schemas.microsoft.com/office/powerpoint/2010/main" val="17766909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dditional Reading:</a:t>
            </a:r>
          </a:p>
          <a:p>
            <a:pPr marL="0" marR="0" lvl="0" indent="0" algn="l" defTabSz="457200" rtl="0" eaLnBrk="1" fontAlgn="auto" latinLnBrk="0" hangingPunct="1">
              <a:lnSpc>
                <a:spcPct val="100000"/>
              </a:lnSpc>
              <a:spcBef>
                <a:spcPts val="0"/>
              </a:spcBef>
              <a:spcAft>
                <a:spcPts val="0"/>
              </a:spcAft>
              <a:buClrTx/>
              <a:buSzTx/>
              <a:buFontTx/>
              <a:buNone/>
              <a:tabLst/>
              <a:defRPr/>
            </a:pPr>
            <a:r>
              <a:rPr lang="pt-PT" b="1" dirty="0"/>
              <a:t>sys.dm_os_wait_stats</a:t>
            </a:r>
            <a:r>
              <a:rPr lang="pt-PT" dirty="0"/>
              <a:t> - </a:t>
            </a:r>
            <a:r>
              <a:rPr lang="en-US" b="0" i="0" u="none" dirty="0">
                <a:solidFill>
                  <a:schemeClr val="bg1"/>
                </a:solidFill>
                <a:latin typeface="Segoe UI Light" panose="020B0502040204020203" pitchFamily="34" charset="0"/>
                <a:cs typeface="Segoe UI Light" panose="020B0502040204020203" pitchFamily="34" charset="0"/>
              </a:rPr>
              <a:t>Main source of information on waits</a:t>
            </a:r>
            <a:endParaRPr lang="en-US" dirty="0">
              <a:solidFill>
                <a:schemeClr val="bg1"/>
              </a:solidFill>
              <a:latin typeface="Segoe UI Light" panose="020B0502040204020203" pitchFamily="34" charset="0"/>
              <a:cs typeface="Segoe UI Light" panose="020B0502040204020203" pitchFamily="34" charset="0"/>
            </a:endParaRPr>
          </a:p>
          <a:p>
            <a:r>
              <a:rPr lang="en-US" dirty="0"/>
              <a:t>(</a:t>
            </a:r>
            <a:r>
              <a:rPr lang="en-US" dirty="0">
                <a:hlinkClick r:id="rId4"/>
              </a:rPr>
              <a:t>https://msdn.microsoft.com/en-us/library/ms179984.aspx</a:t>
            </a:r>
            <a:r>
              <a:rPr lang="en-US" dirty="0"/>
              <a:t>)</a:t>
            </a:r>
            <a:br>
              <a:rPr lang="en-US" dirty="0"/>
            </a:br>
            <a:endParaRPr lang="en-US" dirty="0"/>
          </a:p>
          <a:p>
            <a:pPr lvl="0">
              <a:defRPr/>
            </a:pPr>
            <a:r>
              <a:rPr lang="pt-PT" b="1" dirty="0"/>
              <a:t>sys.dm_os_waiting_tasks - </a:t>
            </a:r>
            <a:r>
              <a:rPr lang="en-US" dirty="0">
                <a:solidFill>
                  <a:schemeClr val="bg1"/>
                </a:solidFill>
                <a:latin typeface="Segoe UI Light" panose="020B0502040204020203" pitchFamily="34" charset="0"/>
                <a:cs typeface="Segoe UI Light" panose="020B0502040204020203" pitchFamily="34" charset="0"/>
              </a:rPr>
              <a:t>Includes session owning the task, the wait duration and type, information about blocking and the resource that is currently preventing the task from becoming runnable</a:t>
            </a:r>
          </a:p>
          <a:p>
            <a:pPr lvl="0">
              <a:defRPr/>
            </a:pPr>
            <a:r>
              <a:rPr lang="en-US" dirty="0"/>
              <a:t>(</a:t>
            </a:r>
            <a:r>
              <a:rPr lang="en-US" dirty="0">
                <a:hlinkClick r:id="rId5"/>
              </a:rPr>
              <a:t>https://msdn.microsoft.com/en-us/library/ms188743.aspx</a:t>
            </a:r>
            <a:r>
              <a:rPr lang="en-US" dirty="0"/>
              <a:t>)</a:t>
            </a:r>
          </a:p>
          <a:p>
            <a:pPr lvl="0">
              <a:defRPr/>
            </a:pPr>
            <a:endParaRPr lang="en-US" dirty="0"/>
          </a:p>
          <a:p>
            <a:pPr lvl="0">
              <a:defRPr/>
            </a:pPr>
            <a:r>
              <a:rPr lang="en-US" dirty="0"/>
              <a:t>sys.dm_exec_requests </a:t>
            </a:r>
          </a:p>
          <a:p>
            <a:pPr lvl="0">
              <a:defRPr/>
            </a:pPr>
            <a:endParaRPr lang="en-US" dirty="0"/>
          </a:p>
          <a:p>
            <a:pPr lvl="0">
              <a:defRPr/>
            </a:pPr>
            <a:r>
              <a:rPr lang="en-US" dirty="0"/>
              <a:t>(</a:t>
            </a:r>
            <a:r>
              <a:rPr lang="en-US" dirty="0">
                <a:hlinkClick r:id="rId6"/>
              </a:rPr>
              <a:t>https://msdn.microsoft.com/library/ms177648.aspx</a:t>
            </a:r>
            <a:r>
              <a:rPr lang="en-US" dirty="0"/>
              <a:t>)</a:t>
            </a:r>
          </a:p>
          <a:p>
            <a:pPr lvl="0">
              <a:defRPr/>
            </a:pPr>
            <a:endParaRPr lang="en-US" dirty="0"/>
          </a:p>
          <a:p>
            <a:pPr lvl="0">
              <a:defRPr/>
            </a:pPr>
            <a:r>
              <a:rPr lang="en-US" b="1" dirty="0"/>
              <a:t>See all waits here: </a:t>
            </a:r>
            <a:r>
              <a:rPr lang="en-US" dirty="0">
                <a:hlinkClick r:id="rId7"/>
              </a:rPr>
              <a:t>http://blogs.msdn.com/b/psssql/archive/2009/11/03/the-sql-server-wait-type-repository.aspx</a:t>
            </a:r>
            <a:r>
              <a:rPr lang="en-US" dirty="0"/>
              <a:t> and </a:t>
            </a:r>
            <a:r>
              <a:rPr lang="en-US" dirty="0">
                <a:hlinkClick r:id="rId8"/>
              </a:rPr>
              <a:t>http://msdn.microsoft.com/en-us/library/ms179984.aspx</a:t>
            </a:r>
            <a:r>
              <a:rPr lang="en-US" dirty="0"/>
              <a:t> </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32718877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Top Wait Types </a:t>
            </a:r>
            <a:r>
              <a:rPr lang="en-US" sz="900" dirty="0">
                <a:hlinkClick r:id="rId3"/>
              </a:rPr>
              <a:t>https://sqlperformance.com/2018/10/sql-performance/top-wait-stats</a:t>
            </a:r>
            <a:endParaRPr lang="en-US" sz="90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SQL Skills Wait Types Library </a:t>
            </a:r>
            <a:r>
              <a:rPr lang="en-US" sz="900" dirty="0">
                <a:hlinkClick r:id="rId4"/>
              </a:rPr>
              <a:t>https://www.sqlskills.com/help/waits/</a:t>
            </a:r>
            <a:endParaRPr lang="en-US" sz="900" dirty="0"/>
          </a:p>
          <a:p>
            <a:pPr>
              <a:defRPr/>
            </a:pPr>
            <a:endParaRPr lang="en-US" b="1" dirty="0"/>
          </a:p>
          <a:p>
            <a:pPr>
              <a:defRPr/>
            </a:pPr>
            <a:r>
              <a:rPr lang="en-US" b="1" dirty="0"/>
              <a:t>Key Points:</a:t>
            </a:r>
          </a:p>
          <a:p>
            <a:pPr>
              <a:defRPr/>
            </a:pPr>
            <a:r>
              <a:rPr lang="en-US" dirty="0"/>
              <a:t>Use sys.dm_os_waiting_tasks to show the waiter list at the current moment. sys.dm_exec_requests contains all requests (running, runnable, waiting) that are in-flight, and joining both these DMVs allows us to find what is causing blocking at a given point in time.</a:t>
            </a:r>
          </a:p>
          <a:p>
            <a:pPr>
              <a:defRPr/>
            </a:pPr>
            <a:endParaRPr lang="en-US" dirty="0"/>
          </a:p>
          <a:p>
            <a:pPr>
              <a:defRPr/>
            </a:pPr>
            <a:r>
              <a:rPr lang="en-US" b="1" dirty="0"/>
              <a:t>Additional Reading:</a:t>
            </a:r>
          </a:p>
          <a:p>
            <a:r>
              <a:rPr lang="en-US" dirty="0"/>
              <a:t>SQL Swiss Army Knife #11.1 - Locking, blocking and active transactions </a:t>
            </a:r>
            <a:r>
              <a:rPr lang="pt-PT" dirty="0"/>
              <a:t>(</a:t>
            </a:r>
            <a:r>
              <a:rPr lang="pt-PT" dirty="0">
                <a:hlinkClick r:id="rId5"/>
              </a:rPr>
              <a:t>http://blogs.msdn.com/b/blogdoezequiel/archive/2012/09/18/sql-swiss-army-knife-11-1-locking-blocking-and-active-transactions.aspx</a:t>
            </a:r>
            <a:r>
              <a:rPr lang="pt-PT" dirty="0"/>
              <a:t>)</a:t>
            </a:r>
          </a:p>
          <a:p>
            <a:endParaRPr lang="en-GB" dirty="0"/>
          </a:p>
          <a:p>
            <a:pPr lvl="0">
              <a:defRPr/>
            </a:pPr>
            <a:r>
              <a:rPr lang="en-US" b="1" dirty="0">
                <a:solidFill>
                  <a:prstClr val="black"/>
                </a:solidFill>
              </a:rPr>
              <a:t>Key Points</a:t>
            </a:r>
            <a:r>
              <a:rPr lang="en-US" dirty="0">
                <a:solidFill>
                  <a:prstClr val="black"/>
                </a:solidFill>
              </a:rPr>
              <a:t>:</a:t>
            </a:r>
          </a:p>
          <a:p>
            <a:pPr lvl="0">
              <a:defRPr/>
            </a:pPr>
            <a:r>
              <a:rPr lang="en-US" dirty="0">
                <a:solidFill>
                  <a:prstClr val="black"/>
                </a:solidFill>
              </a:rPr>
              <a:t>The overwhelming majority of scenarios we focus our attention on Resource waits, which may indicate bottlenecks that we have to deal with.</a:t>
            </a:r>
          </a:p>
          <a:p>
            <a:r>
              <a:rPr lang="en-US" dirty="0"/>
              <a:t>SQL Server bottlenecks may present themselves in different ways:</a:t>
            </a:r>
          </a:p>
          <a:p>
            <a:pPr marL="171450" indent="-171450">
              <a:buFont typeface="Arial" panose="020B0604020202020204" pitchFamily="34" charset="0"/>
              <a:buChar char="•"/>
            </a:pPr>
            <a:r>
              <a:rPr lang="en-US" dirty="0"/>
              <a:t>We might face CPU contention with high CPU consumption and this will have an effect on waits.</a:t>
            </a:r>
          </a:p>
          <a:p>
            <a:pPr marL="171450" indent="-171450">
              <a:buFont typeface="Arial" panose="020B0604020202020204" pitchFamily="34" charset="0"/>
              <a:buChar char="•"/>
            </a:pPr>
            <a:r>
              <a:rPr lang="en-US" dirty="0"/>
              <a:t>Or we might face a situation where available memory is low, also leading to specific wait types.</a:t>
            </a:r>
          </a:p>
          <a:p>
            <a:pPr marL="171450" indent="-171450">
              <a:buFont typeface="Arial" panose="020B0604020202020204" pitchFamily="34" charset="0"/>
              <a:buChar char="•"/>
            </a:pPr>
            <a:r>
              <a:rPr lang="en-US" dirty="0"/>
              <a:t>Disk I/O is also very important, because disk high latencies can slow down any and all operations in SQL Server, and there are specific waits that allow us to scope further actions.</a:t>
            </a:r>
          </a:p>
          <a:p>
            <a:pPr marL="171450" indent="-171450">
              <a:buFont typeface="Arial" panose="020B0604020202020204" pitchFamily="34" charset="0"/>
              <a:buChar char="•"/>
            </a:pPr>
            <a:r>
              <a:rPr lang="en-US" dirty="0"/>
              <a:t>Network I/O should not be overlooked. We might have low bandwidth available, or clients may not be consuming data as fast as SQL Server can provide it – all these have specific cumulative waits in SQL Server.</a:t>
            </a:r>
          </a:p>
          <a:p>
            <a:pPr marL="171450" indent="-171450">
              <a:buFont typeface="Arial" panose="020B0604020202020204" pitchFamily="34" charset="0"/>
              <a:buChar char="•"/>
            </a:pPr>
            <a:r>
              <a:rPr lang="en-US" dirty="0"/>
              <a:t>Then there is transactional locking and blocking, which is paramount for our workload performance, as it represents contention on queries.</a:t>
            </a:r>
          </a:p>
          <a:p>
            <a:r>
              <a:rPr lang="en-US" dirty="0"/>
              <a:t>The order listed above is not arbitrary. This is the order in which we usually start troubleshooting SQL Server bottlenecks.</a:t>
            </a:r>
          </a:p>
          <a:p>
            <a:endParaRPr lang="en-GB" dirty="0"/>
          </a:p>
          <a:p>
            <a:endParaRPr lang="en-US" dirty="0"/>
          </a:p>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Rectangular Callout 7"/>
          <p:cNvSpPr/>
          <p:nvPr/>
        </p:nvSpPr>
        <p:spPr>
          <a:xfrm>
            <a:off x="-2286000" y="4953000"/>
            <a:ext cx="1753565" cy="1619555"/>
          </a:xfrm>
          <a:prstGeom prst="wedgeRectCallout">
            <a:avLst>
              <a:gd name="adj1" fmla="val 247124"/>
              <a:gd name="adj2" fmla="val -7154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prstClr val="white"/>
                </a:solidFill>
                <a:effectLst/>
                <a:uLnTx/>
                <a:uFillTx/>
                <a:latin typeface="Calibri"/>
                <a:ea typeface="+mn-ea"/>
                <a:cs typeface="+mn-cs"/>
              </a:rPr>
              <a:t>Please check if this should be the “waits” list</a:t>
            </a: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ular Callout 8"/>
          <p:cNvSpPr/>
          <p:nvPr/>
        </p:nvSpPr>
        <p:spPr>
          <a:xfrm>
            <a:off x="-2819400" y="6572555"/>
            <a:ext cx="2286965" cy="1619555"/>
          </a:xfrm>
          <a:prstGeom prst="wedgeRectCallout">
            <a:avLst>
              <a:gd name="adj1" fmla="val 129214"/>
              <a:gd name="adj2" fmla="val -7997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prstClr val="white"/>
                </a:solidFill>
                <a:effectLst/>
                <a:uLnTx/>
                <a:uFillTx/>
                <a:latin typeface="Calibri"/>
                <a:ea typeface="+mn-ea"/>
                <a:cs typeface="+mn-cs"/>
              </a:rPr>
              <a:t>This sentence reads wrong. Consider changing to “Of all the scenarios that are available, we focus our attention on..”? </a:t>
            </a: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ular Callout 9"/>
          <p:cNvSpPr/>
          <p:nvPr/>
        </p:nvSpPr>
        <p:spPr>
          <a:xfrm>
            <a:off x="7620000" y="5334000"/>
            <a:ext cx="2241235" cy="1318437"/>
          </a:xfrm>
          <a:prstGeom prst="wedgeRectCallout">
            <a:avLst>
              <a:gd name="adj1" fmla="val -267695"/>
              <a:gd name="adj2" fmla="val 1006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Global: Please avoid using first person “we”, “I”, or “our”. Always use “you” or “Microsoft” if that is applicable. </a:t>
            </a:r>
          </a:p>
        </p:txBody>
      </p:sp>
    </p:spTree>
    <p:extLst>
      <p:ext uri="{BB962C8B-B14F-4D97-AF65-F5344CB8AC3E}">
        <p14:creationId xmlns:p14="http://schemas.microsoft.com/office/powerpoint/2010/main" val="21310893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b="1" dirty="0"/>
              <a:t>Key Point: </a:t>
            </a:r>
            <a:r>
              <a:rPr lang="en-US" b="0" dirty="0"/>
              <a:t> Each of these Wait Types will be discussed in more detail in later modules. This is just an overview.</a:t>
            </a:r>
            <a:endParaRPr lang="en-US" b="1" dirty="0"/>
          </a:p>
          <a:p>
            <a:pPr lvl="0">
              <a:defRPr/>
            </a:pPr>
            <a:endParaRPr lang="en-US" b="1" dirty="0"/>
          </a:p>
          <a:p>
            <a:pPr lvl="0">
              <a:defRPr/>
            </a:pPr>
            <a:endParaRPr lang="en-US" b="1" dirty="0"/>
          </a:p>
          <a:p>
            <a:pPr lvl="0">
              <a:defRPr/>
            </a:pPr>
            <a:r>
              <a:rPr lang="en-US" b="1" dirty="0"/>
              <a:t>SOS_SCHEDULER_YIELD</a:t>
            </a:r>
            <a:r>
              <a:rPr lang="en-US" dirty="0"/>
              <a:t> = Might indicate CPU pressure if there is a very high overall percentage</a:t>
            </a:r>
            <a:r>
              <a:rPr lang="en-US" dirty="0">
                <a:latin typeface="Segoe UI Light" panose="020B0502040204020203" pitchFamily="34" charset="0"/>
                <a:cs typeface="Segoe UI Light" panose="020B0502040204020203" pitchFamily="34" charset="0"/>
              </a:rPr>
              <a:t> of Processor Time</a:t>
            </a:r>
            <a:r>
              <a:rPr lang="en-US" dirty="0"/>
              <a:t>. Check yielding conditions in </a:t>
            </a:r>
            <a:r>
              <a:rPr lang="en-US" dirty="0">
                <a:hlinkClick r:id="rId4"/>
              </a:rPr>
              <a:t>http://technet.microsoft.com/en-us/library/cc917684.aspx</a:t>
            </a:r>
            <a:r>
              <a:rPr lang="en-US" dirty="0"/>
              <a:t> </a:t>
            </a:r>
          </a:p>
          <a:p>
            <a:pPr>
              <a:defRPr/>
            </a:pPr>
            <a:endParaRPr lang="en-US"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CXPACKET</a:t>
            </a:r>
            <a:r>
              <a:rPr lang="en-US" dirty="0"/>
              <a:t> = If </a:t>
            </a:r>
            <a:r>
              <a:rPr lang="en-US" sz="900" dirty="0">
                <a:solidFill>
                  <a:srgbClr val="000000"/>
                </a:solidFill>
                <a:latin typeface="Segoe UI Light" panose="020B0502040204020203" pitchFamily="34" charset="0"/>
                <a:ea typeface="+mn-ea"/>
                <a:cs typeface="Segoe UI Light" panose="020B0502040204020203" pitchFamily="34" charset="0"/>
              </a:rPr>
              <a:t>online transaction processing </a:t>
            </a:r>
            <a:r>
              <a:rPr lang="en-US" dirty="0"/>
              <a:t>(OLTP), check for parallelism issues if above 20 pct. If combined with a high number of PAGEIOLATCH_XX waits, it could be large parallel table scans going on because of incorrect non-clustered indexes, or out-of-date statistics causing a bad query plan. Check </a:t>
            </a:r>
            <a:r>
              <a:rPr lang="en-US" dirty="0" err="1"/>
              <a:t>Waiting_tasks</a:t>
            </a:r>
            <a:r>
              <a:rPr lang="en-US" dirty="0"/>
              <a:t> for Exchange wait types in </a:t>
            </a:r>
            <a:r>
              <a:rPr lang="en-US" dirty="0">
                <a:hlinkClick r:id="rId5"/>
              </a:rPr>
              <a:t>http://technet.microsoft.com/en-us/library/ms188743.aspx</a:t>
            </a:r>
            <a:r>
              <a:rPr lang="en-US" dirty="0"/>
              <a:t>;</a:t>
            </a:r>
          </a:p>
          <a:p>
            <a:pPr marL="171450" indent="-171450">
              <a:buFont typeface="Arial" panose="020B0604020202020204" pitchFamily="34" charset="0"/>
              <a:buChar char="•"/>
            </a:pPr>
            <a:r>
              <a:rPr lang="en-US" dirty="0"/>
              <a:t>Wait Resource </a:t>
            </a:r>
            <a:r>
              <a:rPr lang="en-US" dirty="0" err="1"/>
              <a:t>e_waitPipeNewRow</a:t>
            </a:r>
            <a:r>
              <a:rPr lang="en-US" dirty="0"/>
              <a:t> in CXPACKET waits – Producer waiting on consumer for a packet to fill.</a:t>
            </a:r>
          </a:p>
          <a:p>
            <a:pPr marL="171450" indent="-171450">
              <a:buFont typeface="Arial" panose="020B0604020202020204" pitchFamily="34" charset="0"/>
              <a:buChar char="•"/>
            </a:pPr>
            <a:r>
              <a:rPr lang="en-US" dirty="0"/>
              <a:t>Wait Resource </a:t>
            </a:r>
            <a:r>
              <a:rPr lang="en-US" dirty="0" err="1"/>
              <a:t>e_waitPipeGetRow</a:t>
            </a:r>
            <a:r>
              <a:rPr lang="en-US" dirty="0"/>
              <a:t> in CXPACKET waits – Consumer waiting on producer to fill a packet.</a:t>
            </a:r>
          </a:p>
          <a:p>
            <a:pPr lvl="0">
              <a:defRPr/>
            </a:pPr>
            <a:endParaRPr lang="en-US" b="1" dirty="0"/>
          </a:p>
          <a:p>
            <a:r>
              <a:rPr lang="en-US" b="1" dirty="0"/>
              <a:t>Why must parallel queries wait?</a:t>
            </a:r>
          </a:p>
          <a:p>
            <a:r>
              <a:rPr lang="en-US" dirty="0"/>
              <a:t>SQL Server will parallelize a query by dividing each operation into equal-sized sets for processing. These sets are then split up into multiple threads targeting specific processors. This allows each thread to be executed in parallel by each of the processors. Even with SQL Server splitting up the work into equal sized pieces, it is still impossible for all of the threads to complete at exactly the same time to prevent one or more of the threads from experiencing CXPACKET waits. In short, if you have parallel query execution, you will have CXPACKET wait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r>
              <a:rPr lang="en-US" b="1" dirty="0" err="1"/>
              <a:t>LATCH_xx</a:t>
            </a:r>
            <a:r>
              <a:rPr lang="en-US" dirty="0"/>
              <a:t> = Indicates contention for access to some non-page structures. ACCESS_METHODS_DATASET_PARENT, ACCESS_METHODS_SCAN_RANGE_GENERATOR or NESTING_TRANSACTION_FULL latches indicate parallelism issues;</a:t>
            </a:r>
          </a:p>
          <a:p>
            <a:r>
              <a:rPr lang="en-US" dirty="0"/>
              <a:t>We will talk more about Latching in Module 6.</a:t>
            </a:r>
          </a:p>
          <a:p>
            <a:endParaRPr lang="en-US" dirty="0"/>
          </a:p>
          <a:p>
            <a:r>
              <a:rPr lang="en-US" b="1" dirty="0" err="1"/>
              <a:t>PAGELATCH_xx</a:t>
            </a:r>
            <a:r>
              <a:rPr lang="en-US" dirty="0"/>
              <a:t> = Indicates contention for access to Buffers (in-memory copies of pages) such as PFS, SGAM, and GAM. </a:t>
            </a:r>
          </a:p>
          <a:p>
            <a:r>
              <a:rPr lang="en-US" dirty="0"/>
              <a:t>PAGELATCH_UP = Does the filegroup have enough files? Contention in PFS?</a:t>
            </a:r>
          </a:p>
          <a:p>
            <a:r>
              <a:rPr lang="en-US" dirty="0"/>
              <a:t>PAGELATCH_EX = Contention while doing many UPDATE statements against small tables? Many concurrent INSERT statements into a table that has an index on an IDENTITY or NEWSEQUENTIALID column?</a:t>
            </a:r>
          </a:p>
          <a:p>
            <a:endParaRPr lang="en-US" dirty="0"/>
          </a:p>
          <a:p>
            <a:pPr>
              <a:defRPr/>
            </a:pPr>
            <a:r>
              <a:rPr lang="en-US" b="1" dirty="0" err="1"/>
              <a:t>PAGEIOLATCH_xx</a:t>
            </a:r>
            <a:r>
              <a:rPr lang="en-US" dirty="0"/>
              <a:t> = Indicates I/O problems. Validate disk and memory </a:t>
            </a:r>
            <a:r>
              <a:rPr lang="en-US" dirty="0" err="1"/>
              <a:t>perfmon</a:t>
            </a:r>
            <a:r>
              <a:rPr lang="en-US" dirty="0"/>
              <a:t> counters, virtual file stats DMV, and the SQL </a:t>
            </a:r>
            <a:r>
              <a:rPr lang="en-US" dirty="0" err="1"/>
              <a:t>Errorlogs</a:t>
            </a:r>
            <a:r>
              <a:rPr lang="en-US" dirty="0"/>
              <a:t> (for error 833 “I/O taking longer than 15 seconds”).</a:t>
            </a:r>
          </a:p>
          <a:p>
            <a:endParaRPr lang="en-GB" dirty="0"/>
          </a:p>
          <a:p>
            <a:endParaRPr lang="en-GB" dirty="0"/>
          </a:p>
          <a:p>
            <a:pPr lvl="0">
              <a:defRPr/>
            </a:pPr>
            <a:r>
              <a:rPr lang="en-US" b="1" dirty="0"/>
              <a:t>IO_COMPLETION</a:t>
            </a:r>
            <a:r>
              <a:rPr lang="en-US" dirty="0"/>
              <a:t> = Usually TempDB spilling </a:t>
            </a:r>
            <a:r>
              <a:rPr lang="en-US" dirty="0">
                <a:solidFill>
                  <a:schemeClr val="bg1"/>
                </a:solidFill>
                <a:latin typeface="Segoe UI Light" panose="020B0502040204020203" pitchFamily="34" charset="0"/>
                <a:cs typeface="Segoe UI Light" panose="020B0502040204020203" pitchFamily="34" charset="0"/>
              </a:rPr>
              <a:t>or high static cursor rate</a:t>
            </a:r>
            <a:r>
              <a:rPr lang="en-US" dirty="0"/>
              <a:t>; </a:t>
            </a:r>
          </a:p>
          <a:p>
            <a:r>
              <a:rPr lang="en-US" b="1" dirty="0"/>
              <a:t>DISKIO_SUSPEND</a:t>
            </a:r>
            <a:r>
              <a:rPr lang="en-US" dirty="0"/>
              <a:t> = High wait times here indicate the SNAPSHOT BACKUP might be taking longer than expected. Typically, the delay is within the Virtual Desktop Infrastructure (VDI) application perform the snapshot backup.</a:t>
            </a:r>
          </a:p>
          <a:p>
            <a:pPr lvl="0">
              <a:defRPr/>
            </a:pPr>
            <a:endParaRPr lang="en-US" b="1" dirty="0"/>
          </a:p>
          <a:p>
            <a:pPr lvl="0">
              <a:defRPr/>
            </a:pPr>
            <a:r>
              <a:rPr lang="en-US" b="1" dirty="0"/>
              <a:t>ASYNC_IO_COMPLETION</a:t>
            </a:r>
            <a:r>
              <a:rPr lang="en-US" dirty="0"/>
              <a:t> = Usually when not using IFI or waiting on backups.</a:t>
            </a:r>
          </a:p>
          <a:p>
            <a:pPr lvl="0">
              <a:defRPr/>
            </a:pPr>
            <a:endParaRPr lang="en-US" b="1" dirty="0"/>
          </a:p>
          <a:p>
            <a:r>
              <a:rPr lang="en-US" b="1" dirty="0"/>
              <a:t>WRITELOG</a:t>
            </a:r>
            <a:r>
              <a:rPr lang="en-US" dirty="0"/>
              <a:t> = log management system waiting for a log flush to disk. Examine the I/O latency for the log file.</a:t>
            </a:r>
          </a:p>
          <a:p>
            <a:endParaRPr lang="en-GB" dirty="0"/>
          </a:p>
          <a:p>
            <a:pPr lvl="0">
              <a:defRPr/>
            </a:pPr>
            <a:r>
              <a:rPr lang="en-US" b="1" dirty="0"/>
              <a:t>CMEMTHREAD</a:t>
            </a:r>
            <a:r>
              <a:rPr lang="en-US" dirty="0"/>
              <a:t> = Indicates that the rate of insertion of entries into the plan cache is very high and there is contention. See more in </a:t>
            </a:r>
            <a:r>
              <a:rPr lang="en-US" dirty="0">
                <a:hlinkClick r:id="rId6"/>
              </a:rPr>
              <a:t>http://blogs.msdn.com/b/psssql/archive/2012/12/20/how-it-works-cmemthread-and-debugging-them.aspx</a:t>
            </a:r>
            <a:r>
              <a:rPr lang="en-US" dirty="0"/>
              <a:t> </a:t>
            </a:r>
          </a:p>
          <a:p>
            <a:endParaRPr lang="en-US" b="1" dirty="0"/>
          </a:p>
          <a:p>
            <a:r>
              <a:rPr lang="en-US" b="1" dirty="0"/>
              <a:t>RESOURCE_SEMAPHORE_SMALL_QUERY</a:t>
            </a:r>
            <a:r>
              <a:rPr lang="en-US" dirty="0"/>
              <a:t> or </a:t>
            </a:r>
            <a:r>
              <a:rPr lang="en-US" b="1" dirty="0"/>
              <a:t>RESOURCE_SEMAPHORE</a:t>
            </a:r>
            <a:r>
              <a:rPr lang="en-US" dirty="0"/>
              <a:t> = Queries are waiting for execution memory. Look for plans with excessive hashing or sorts. Confirm with the Memory Grants Pending and Memory Grants Outstanding </a:t>
            </a:r>
            <a:r>
              <a:rPr lang="en-US" dirty="0" err="1"/>
              <a:t>perfmon</a:t>
            </a:r>
            <a:r>
              <a:rPr lang="en-US" dirty="0"/>
              <a:t> counters.</a:t>
            </a:r>
          </a:p>
          <a:p>
            <a:endParaRPr lang="en-US" dirty="0"/>
          </a:p>
          <a:p>
            <a:r>
              <a:rPr lang="en-US" b="1" dirty="0"/>
              <a:t>RESOURCE_SEMAPHORE_QUERY_COMPILE</a:t>
            </a:r>
            <a:r>
              <a:rPr lang="en-US" dirty="0"/>
              <a:t> = Usually high compilation or recompilation scenario (higher ratio of prepared plans vs. compiled plans). On x64, usually memory hungry queries and compiles. On x86, perhaps short on VAS. See more in </a:t>
            </a:r>
            <a:r>
              <a:rPr lang="en-US" dirty="0">
                <a:hlinkClick r:id="rId7"/>
              </a:rPr>
              <a:t>http://technet.microsoft.com/en-us/library/cc293620.aspx</a:t>
            </a:r>
            <a:r>
              <a:rPr lang="en-US" dirty="0"/>
              <a:t> </a:t>
            </a:r>
          </a:p>
          <a:p>
            <a:endParaRPr lang="en-US" dirty="0"/>
          </a:p>
          <a:p>
            <a:r>
              <a:rPr lang="en-US" b="1" dirty="0"/>
              <a:t>WAIT_XTP_OFFLINE_CKPT_LOG_IO</a:t>
            </a:r>
            <a:r>
              <a:rPr lang="en-US" dirty="0"/>
              <a:t> = Occurs when offline checkpoint is waiting for a log read I/O to complete.</a:t>
            </a:r>
          </a:p>
          <a:p>
            <a:endParaRPr lang="en-US" dirty="0"/>
          </a:p>
          <a:p>
            <a:r>
              <a:rPr lang="en-US" b="1" dirty="0"/>
              <a:t>WAIT_XTP_CKPT_CLOSE</a:t>
            </a:r>
            <a:r>
              <a:rPr lang="en-US" dirty="0"/>
              <a:t> = Indicates contention with the In-Memory offline checkpoint completion process.</a:t>
            </a:r>
          </a:p>
          <a:p>
            <a:endParaRPr lang="en-GB" dirty="0"/>
          </a:p>
          <a:p>
            <a:pPr>
              <a:defRPr/>
            </a:pPr>
            <a:r>
              <a:rPr lang="en-US" b="1" dirty="0"/>
              <a:t>PREEMPTIVE_OS_WRITEFILEGATHERER</a:t>
            </a:r>
            <a:r>
              <a:rPr lang="en-US" dirty="0"/>
              <a:t> (2008+) = Usually </a:t>
            </a:r>
            <a:r>
              <a:rPr lang="en-US" dirty="0" err="1"/>
              <a:t>autogrow</a:t>
            </a:r>
            <a:r>
              <a:rPr lang="en-US" dirty="0"/>
              <a:t> scenarios, usually together with </a:t>
            </a:r>
            <a:r>
              <a:rPr lang="en-US" b="1" dirty="0"/>
              <a:t>WRITELOG</a:t>
            </a:r>
            <a:endParaRPr lang="en-US" dirty="0"/>
          </a:p>
          <a:p>
            <a:pPr lvl="0">
              <a:defRPr/>
            </a:pPr>
            <a:r>
              <a:rPr lang="en-US" b="1" dirty="0"/>
              <a:t>PREEMPTIVE_OS_WAITFORSINGLEOBJECT</a:t>
            </a:r>
            <a:r>
              <a:rPr lang="en-US" dirty="0"/>
              <a:t> = Usually seen together with </a:t>
            </a:r>
            <a:r>
              <a:rPr lang="en-US" b="1" dirty="0"/>
              <a:t>NETWORK_IO</a:t>
            </a:r>
            <a:endParaRPr lang="en-US" dirty="0"/>
          </a:p>
          <a:p>
            <a:endParaRPr lang="en-US" dirty="0"/>
          </a:p>
          <a:p>
            <a:r>
              <a:rPr lang="en-US" b="1" dirty="0"/>
              <a:t>SOS_RESERVEDMEMBLOCKLIST</a:t>
            </a:r>
            <a:r>
              <a:rPr lang="en-US" dirty="0"/>
              <a:t> = Look for procedures with a large number of parameters, or queries with a long list of expression values specified in an IN clause, which would require multi-page allocations if it is SQL Server 2005 and SQL Server 2008</a:t>
            </a:r>
          </a:p>
          <a:p>
            <a:endParaRPr lang="en-US" dirty="0"/>
          </a:p>
          <a:p>
            <a:r>
              <a:rPr lang="en-US" b="1" dirty="0"/>
              <a:t>DBMIRROR_DBM_MUTEX</a:t>
            </a:r>
            <a:r>
              <a:rPr lang="en-US" dirty="0"/>
              <a:t> = Indicates contention for the send buffer that database mirroring shares between all the mirroring sessions.</a:t>
            </a:r>
          </a:p>
          <a:p>
            <a:endParaRPr lang="en-GB" dirty="0"/>
          </a:p>
          <a:p>
            <a:pPr>
              <a:defRPr/>
            </a:pPr>
            <a:r>
              <a:rPr lang="en-US" b="1" dirty="0"/>
              <a:t>THREADPOOL</a:t>
            </a:r>
            <a:r>
              <a:rPr lang="en-US" dirty="0"/>
              <a:t> = Look for high blocking or contention problems with workers. This will not show up in sys.dm_exec_requests;</a:t>
            </a:r>
          </a:p>
          <a:p>
            <a:endParaRPr lang="en-US" b="1" dirty="0"/>
          </a:p>
          <a:p>
            <a:pPr>
              <a:defRPr/>
            </a:pPr>
            <a:r>
              <a:rPr lang="en-US" b="1" dirty="0"/>
              <a:t>LOGBUFFER</a:t>
            </a:r>
            <a:r>
              <a:rPr lang="en-US" dirty="0"/>
              <a:t> = Task is waiting for space in the log buffer to store a log record.</a:t>
            </a:r>
          </a:p>
          <a:p>
            <a:pPr lvl="0">
              <a:defRPr/>
            </a:pPr>
            <a:endParaRPr lang="en-US" dirty="0"/>
          </a:p>
          <a:p>
            <a:pPr lvl="0">
              <a:defRPr/>
            </a:pPr>
            <a:r>
              <a:rPr lang="en-US" b="1" dirty="0" err="1"/>
              <a:t>LCK_xx</a:t>
            </a:r>
            <a:r>
              <a:rPr lang="en-US" dirty="0"/>
              <a:t> = </a:t>
            </a:r>
            <a:r>
              <a:rPr lang="en-US" dirty="0">
                <a:latin typeface="Segoe UI Light" panose="020B0502040204020203" pitchFamily="34" charset="0"/>
                <a:cs typeface="Segoe UI Light" panose="020B0502040204020203" pitchFamily="34" charset="0"/>
              </a:rPr>
              <a:t>Indicates contention for access to locked resources such as index keys or pages</a:t>
            </a:r>
            <a:r>
              <a:rPr lang="pt-PT" dirty="0">
                <a:latin typeface="Segoe UI Light" panose="020B0502040204020203" pitchFamily="34" charset="0"/>
                <a:cs typeface="Segoe UI Light" panose="020B0502040204020203" pitchFamily="34" charset="0"/>
              </a:rPr>
              <a:t>. </a:t>
            </a:r>
            <a:endParaRPr lang="en-US" dirty="0"/>
          </a:p>
          <a:p>
            <a:pPr>
              <a:defRPr/>
            </a:pPr>
            <a:r>
              <a:rPr lang="en-US" dirty="0"/>
              <a:t>LCK_M_U (waiting to acquire an Update lock, incompatible with any other locks)</a:t>
            </a:r>
          </a:p>
          <a:p>
            <a:pPr>
              <a:defRPr/>
            </a:pPr>
            <a:r>
              <a:rPr lang="en-US" dirty="0"/>
              <a:t>LCK_M_X (waiting to acquire an Exclusive lock, incompatible with any other locks)</a:t>
            </a:r>
          </a:p>
          <a:p>
            <a:pPr>
              <a:defRPr/>
            </a:pPr>
            <a:r>
              <a:rPr lang="en-US" dirty="0"/>
              <a:t>LCK_M_S (waiting to acquire a Shared lock, compatible with other shared locks)</a:t>
            </a:r>
          </a:p>
          <a:p>
            <a:endParaRPr lang="en-GB" dirty="0"/>
          </a:p>
          <a:p>
            <a:pPr marL="171450" indent="-171450">
              <a:buFont typeface="Arial" panose="020B0604020202020204" pitchFamily="34" charset="0"/>
              <a:buChar char="•"/>
            </a:pPr>
            <a:endParaRPr lang="en-US" dirty="0"/>
          </a:p>
          <a:p>
            <a:endParaRPr lang="en-US" dirty="0"/>
          </a:p>
          <a:p>
            <a:endParaRPr lang="en-GB" dirty="0"/>
          </a:p>
          <a:p>
            <a:endParaRPr lang="en-US"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457200" y="2796363"/>
            <a:ext cx="2241235" cy="1318437"/>
          </a:xfrm>
          <a:prstGeom prst="wedgeRectCallout">
            <a:avLst>
              <a:gd name="adj1" fmla="val -11420"/>
              <a:gd name="adj2" fmla="val 7352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replacing all the “=“ symbols with a colon :</a:t>
            </a:r>
          </a:p>
        </p:txBody>
      </p:sp>
      <p:sp>
        <p:nvSpPr>
          <p:cNvPr id="10" name="Rectangular Callout 9"/>
          <p:cNvSpPr/>
          <p:nvPr/>
        </p:nvSpPr>
        <p:spPr>
          <a:xfrm>
            <a:off x="6019800" y="3429000"/>
            <a:ext cx="2241235" cy="1318437"/>
          </a:xfrm>
          <a:prstGeom prst="wedgeRectCallout">
            <a:avLst>
              <a:gd name="adj1" fmla="val -66385"/>
              <a:gd name="adj2" fmla="val 7400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efine PFS, GAM and SGAM at the first instance</a:t>
            </a:r>
          </a:p>
        </p:txBody>
      </p:sp>
    </p:spTree>
    <p:extLst>
      <p:ext uri="{BB962C8B-B14F-4D97-AF65-F5344CB8AC3E}">
        <p14:creationId xmlns:p14="http://schemas.microsoft.com/office/powerpoint/2010/main" val="1588645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1_SQL_Architecture\</a:t>
            </a:r>
            <a:r>
              <a:rPr lang="en-US" sz="700" dirty="0"/>
              <a:t>Examine Wait </a:t>
            </a:r>
            <a:r>
              <a:rPr lang="en-US" sz="700" dirty="0" err="1"/>
              <a:t>DMVs.SQL</a:t>
            </a:r>
            <a:endParaRPr lang="en-US" sz="800" dirty="0"/>
          </a:p>
          <a:p>
            <a:endParaRPr lang="en-US" sz="800"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00" b="1" dirty="0"/>
              <a:t>The files for this Lab are located at E:\Labfiles\M01L03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0/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Waits and Queues</a:t>
            </a:r>
          </a:p>
          <a:p>
            <a:pPr marL="228600" indent="-228600">
              <a:buAutoNum type="arabicPeriod"/>
            </a:pPr>
            <a:r>
              <a:rPr lang="en-US"/>
              <a:t>Resource waits, signal waits, and CPU execution time</a:t>
            </a:r>
          </a:p>
          <a:p>
            <a:pPr marL="228600" indent="-228600">
              <a:buAutoNum type="arabicPeriod"/>
            </a:pPr>
            <a:r>
              <a:rPr lang="en-US"/>
              <a:t>PAGELATCH are on internal pages, PAGEIOLATCH are on data pages</a:t>
            </a:r>
          </a:p>
          <a:p>
            <a:pPr marL="228600" indent="-228600">
              <a:buAutoNum type="arabicPeriod"/>
            </a:pPr>
            <a:r>
              <a:rPr lang="en-US"/>
              <a:t>Sys.dm_os_wait_stats</a:t>
            </a:r>
          </a:p>
          <a:p>
            <a:pPr marL="228600" indent="-228600">
              <a:buAutoNum type="arabicPeriod"/>
            </a:pPr>
            <a:r>
              <a:rPr lang="en-US"/>
              <a:t>Sys.dm_os_waiting_tasks</a:t>
            </a:r>
          </a:p>
          <a:p>
            <a:pPr marL="228600" indent="-228600">
              <a:buAutoNum type="arabicPeriod"/>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a:p>
        </p:txBody>
      </p:sp>
    </p:spTree>
    <p:extLst>
      <p:ext uri="{BB962C8B-B14F-4D97-AF65-F5344CB8AC3E}">
        <p14:creationId xmlns:p14="http://schemas.microsoft.com/office/powerpoint/2010/main" val="3918385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dirty="0">
                <a:solidFill>
                  <a:srgbClr val="000000"/>
                </a:solidFill>
              </a:rPr>
              <a:t>Abstracts the concepts of resource management from components, providing:</a:t>
            </a:r>
          </a:p>
          <a:p>
            <a:pPr lvl="1"/>
            <a:r>
              <a:rPr lang="en-US" sz="882" kern="1200" baseline="0" dirty="0">
                <a:solidFill>
                  <a:schemeClr val="tx1"/>
                </a:solidFill>
                <a:latin typeface="+mn-lt"/>
                <a:ea typeface="+mn-ea"/>
                <a:cs typeface="+mn-cs"/>
              </a:rPr>
              <a:t>Scheduling and synchronization support</a:t>
            </a:r>
          </a:p>
          <a:p>
            <a:pPr lvl="1"/>
            <a:r>
              <a:rPr lang="en-US" sz="882" kern="1200" baseline="0" dirty="0">
                <a:solidFill>
                  <a:schemeClr val="tx1"/>
                </a:solidFill>
                <a:latin typeface="+mn-lt"/>
                <a:ea typeface="+mn-ea"/>
                <a:cs typeface="+mn-cs"/>
              </a:rPr>
              <a:t>Memory management and caching</a:t>
            </a:r>
          </a:p>
          <a:p>
            <a:pPr lvl="1"/>
            <a:r>
              <a:rPr lang="en-US" sz="882" kern="1200" baseline="0" dirty="0">
                <a:solidFill>
                  <a:schemeClr val="tx1"/>
                </a:solidFill>
                <a:latin typeface="+mn-lt"/>
                <a:ea typeface="+mn-ea"/>
                <a:cs typeface="+mn-cs"/>
              </a:rPr>
              <a:t>Resource governance</a:t>
            </a:r>
          </a:p>
          <a:p>
            <a:pPr lvl="1"/>
            <a:r>
              <a:rPr lang="en-US" sz="882" kern="1200" baseline="0" dirty="0">
                <a:solidFill>
                  <a:schemeClr val="tx1"/>
                </a:solidFill>
                <a:latin typeface="+mn-lt"/>
                <a:ea typeface="+mn-ea"/>
                <a:cs typeface="+mn-cs"/>
              </a:rPr>
              <a:t>Diagnostics and debug infrastructure</a:t>
            </a:r>
          </a:p>
          <a:p>
            <a:pPr lvl="1"/>
            <a:r>
              <a:rPr lang="en-US" sz="882" kern="1200" baseline="0" dirty="0">
                <a:solidFill>
                  <a:schemeClr val="tx1"/>
                </a:solidFill>
                <a:latin typeface="+mn-lt"/>
                <a:ea typeface="+mn-ea"/>
                <a:cs typeface="+mn-cs"/>
              </a:rPr>
              <a:t>Scalability and performance optimization</a:t>
            </a:r>
          </a:p>
          <a:p>
            <a:endParaRPr lang="en-US" dirty="0"/>
          </a:p>
          <a:p>
            <a:pPr marL="0" indent="0">
              <a:buNone/>
            </a:pPr>
            <a:r>
              <a:rPr lang="en-US" b="1" dirty="0"/>
              <a:t>Key Points:</a:t>
            </a:r>
            <a:endParaRPr lang="en-US" dirty="0"/>
          </a:p>
          <a:p>
            <a:r>
              <a:rPr lang="en-US" dirty="0"/>
              <a:t>Hardware technology and architectures continue to evolve. The introduction of SQL Server Operating System (SQLOS) allows SQL Server to respond to these new architectures with greater flexibility and control. </a:t>
            </a:r>
          </a:p>
          <a:p>
            <a:r>
              <a:rPr lang="en-US" dirty="0"/>
              <a:t>The SQLOS was created to centralize common low-level tasks within the SQL Server process. Having a central location for these tasks means less duplication of code within the various components of the engine, and it also offers the flexibility to adjust SQL Server to new and advanced hardware architectures without impacting the other areas of SQL Server code.</a:t>
            </a:r>
          </a:p>
          <a:p>
            <a:r>
              <a:rPr lang="en-US" dirty="0"/>
              <a:t>The SQLOS behaves very similar to an operating system. It abstracts the concept of memory management, I/O, scheduling and so on, from the other components within the SQL Server engine. In this way, these components do not need to worry about managing things such as Non-Uniform Memory Access (NUMA) and Resource Governor. They simply make resource allocation calls to the SQLOS via an application programming interface (API).</a:t>
            </a:r>
          </a:p>
          <a:p>
            <a:r>
              <a:rPr lang="en-US" dirty="0"/>
              <a:t>The SQL engine is still a process similar to any other process running on a Windows server. It does not have any special privileges or priority over other process. The SQLOS does not bypass Windows; it simply manages the resources within the SQL Server process space in a way that is efficient for SQL Server.</a:t>
            </a:r>
          </a:p>
          <a:p>
            <a:pPr marL="0" indent="0">
              <a:buNone/>
            </a:pPr>
            <a:endParaRPr lang="en-US" b="1" dirty="0"/>
          </a:p>
          <a:p>
            <a:pPr marL="0" indent="0">
              <a:buNone/>
            </a:pPr>
            <a:r>
              <a:rPr lang="en-US" b="1" dirty="0"/>
              <a:t>Example:</a:t>
            </a:r>
            <a:endParaRPr lang="en-US" dirty="0"/>
          </a:p>
          <a:p>
            <a:r>
              <a:rPr lang="en-US" dirty="0"/>
              <a:t>In the event of memory pressure on the server, Windows will respond by trimming processes’ memory (that is moving it from RAM into the paging file). To avoid this performance impact, the SQLOS will monitor physical memory levels on the server and preemptively trim the SQL Server memory footprint in a way that will have the least effect on performance, thereby returning physical memory to the operating system before it must resort to paging.</a:t>
            </a:r>
          </a:p>
          <a:p>
            <a:r>
              <a:rPr lang="en-US" dirty="0"/>
              <a:t>Because all the resources are being managed within the SQLOS using a common framework, the job of monitoring resource consumption is simplified, both for the SQL Server process itself, and for the </a:t>
            </a:r>
            <a:r>
              <a:rPr lang="en-US" dirty="0">
                <a:solidFill>
                  <a:srgbClr val="FF0000"/>
                </a:solidFill>
              </a:rPr>
              <a:t>Database Administrator (DBA).</a:t>
            </a:r>
            <a:r>
              <a:rPr lang="en-US" dirty="0"/>
              <a:t> </a:t>
            </a:r>
          </a:p>
          <a:p>
            <a:pPr marL="0" indent="0">
              <a:buNone/>
            </a:pPr>
            <a:endParaRPr lang="en-US" b="1" dirty="0"/>
          </a:p>
          <a:p>
            <a:pPr marL="0" indent="0">
              <a:buNone/>
            </a:pPr>
            <a:r>
              <a:rPr lang="en-US" b="1" dirty="0"/>
              <a:t>Additional Reading:</a:t>
            </a:r>
            <a:endParaRPr lang="en-US" dirty="0"/>
          </a:p>
          <a:p>
            <a:r>
              <a:rPr lang="en-US" dirty="0"/>
              <a:t>SQLOS Resources: </a:t>
            </a:r>
            <a:r>
              <a:rPr lang="en-US" u="sng" dirty="0">
                <a:hlinkClick r:id="rId3"/>
              </a:rPr>
              <a:t>http://blogs.msdn.com/b/sqlosteam/archive/2010/06/23/sqlos-resources.aspx</a:t>
            </a:r>
            <a:r>
              <a:rPr lang="en-US" dirty="0"/>
              <a:t>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11895502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Key Points:</a:t>
            </a:r>
            <a:endParaRPr lang="en-US" dirty="0"/>
          </a:p>
          <a:p>
            <a:r>
              <a:rPr lang="en-US" dirty="0"/>
              <a:t>The two core responsibilities of the SQLOS are Resource Management and Monitoring. All the information used to manage and monitor resources within the SQL Server process space is exposed to the DBA via Dynamic Management Views (DMVs). These views expose the memory structures used within the SQLOS to account for all the resources in use, thus giving the DBA complete knowledge of the state of the SQL Server process.</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748260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6E6E6"/>
                </a:solidFill>
                <a:effectLst/>
                <a:latin typeface="Segoe UI" panose="020B0502040204020203" pitchFamily="34" charset="0"/>
              </a:rPr>
              <a:t>Dynamic management views and functions return server state information that can be used to monitor the health of a server instance, diagnose problems, and tune performance.</a:t>
            </a:r>
          </a:p>
          <a:p>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Querying Dynamic Management Views</a:t>
            </a:r>
          </a:p>
          <a:p>
            <a:pPr algn="l"/>
            <a:r>
              <a:rPr lang="en-US" b="0" i="0" dirty="0">
                <a:solidFill>
                  <a:srgbClr val="E6E6E6"/>
                </a:solidFill>
                <a:effectLst/>
                <a:latin typeface="Segoe UI" panose="020B0502040204020203" pitchFamily="34" charset="0"/>
              </a:rPr>
              <a:t>Dynamic management views can be referenced in Transact-SQL statements by using two-part, three-part, or four-part names. Dynamic management functions on the other hand can be referenced in Transact-SQL statements by using either two-part or three-part names. Dynamic management views and functions cannot be referenced in Transact-SQL statements by using one-part names.</a:t>
            </a:r>
          </a:p>
          <a:p>
            <a:pPr algn="l"/>
            <a:r>
              <a:rPr lang="en-US" b="0" i="0" dirty="0">
                <a:solidFill>
                  <a:srgbClr val="E6E6E6"/>
                </a:solidFill>
                <a:effectLst/>
                <a:latin typeface="Segoe UI" panose="020B0502040204020203" pitchFamily="34" charset="0"/>
              </a:rPr>
              <a:t>All dynamic management views and functions exist in the sys schema and follow this naming convention dm_*. When you use a dynamic management view or function, you must prefix the name of the view or function by using the sys schema. For example, to query the </a:t>
            </a:r>
            <a:r>
              <a:rPr lang="en-US" b="0" i="0" dirty="0" err="1">
                <a:solidFill>
                  <a:srgbClr val="E6E6E6"/>
                </a:solidFill>
                <a:effectLst/>
                <a:latin typeface="Segoe UI" panose="020B0502040204020203" pitchFamily="34" charset="0"/>
              </a:rPr>
              <a:t>dm_os_wait_stats</a:t>
            </a:r>
            <a:r>
              <a:rPr lang="en-US" b="0" i="0" dirty="0">
                <a:solidFill>
                  <a:srgbClr val="E6E6E6"/>
                </a:solidFill>
                <a:effectLst/>
                <a:latin typeface="Segoe UI" panose="020B0502040204020203" pitchFamily="34" charset="0"/>
              </a:rPr>
              <a:t> dynamic management view, run the following query:</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SELECT </a:t>
            </a:r>
            <a:r>
              <a:rPr lang="en-US" b="0" i="0" dirty="0" err="1">
                <a:solidFill>
                  <a:srgbClr val="E6E6E6"/>
                </a:solidFill>
                <a:effectLst/>
                <a:latin typeface="Segoe UI" panose="020B0502040204020203" pitchFamily="34" charset="0"/>
              </a:rPr>
              <a:t>wait_type</a:t>
            </a:r>
            <a:r>
              <a:rPr lang="en-US" b="0" i="0" dirty="0">
                <a:solidFill>
                  <a:srgbClr val="E6E6E6"/>
                </a:solidFill>
                <a:effectLst/>
                <a:latin typeface="Segoe UI" panose="020B0502040204020203" pitchFamily="34" charset="0"/>
              </a:rPr>
              <a:t>, </a:t>
            </a:r>
            <a:r>
              <a:rPr lang="en-US" b="0" i="0" dirty="0" err="1">
                <a:solidFill>
                  <a:srgbClr val="E6E6E6"/>
                </a:solidFill>
                <a:effectLst/>
                <a:latin typeface="Segoe UI" panose="020B0502040204020203" pitchFamily="34" charset="0"/>
              </a:rPr>
              <a:t>wait_time_ms</a:t>
            </a:r>
            <a:r>
              <a:rPr lang="en-US" b="0" i="0" dirty="0">
                <a:solidFill>
                  <a:srgbClr val="E6E6E6"/>
                </a:solidFill>
                <a:effectLst/>
                <a:latin typeface="Segoe UI" panose="020B0502040204020203" pitchFamily="34" charset="0"/>
              </a:rPr>
              <a:t>  </a:t>
            </a:r>
          </a:p>
          <a:p>
            <a:pPr algn="l"/>
            <a:r>
              <a:rPr lang="en-US" b="0" i="0" dirty="0">
                <a:solidFill>
                  <a:srgbClr val="E6E6E6"/>
                </a:solidFill>
                <a:effectLst/>
                <a:latin typeface="Segoe UI" panose="020B0502040204020203" pitchFamily="34" charset="0"/>
              </a:rPr>
              <a:t>FROM sys.dm_os_wait_stats;</a:t>
            </a:r>
          </a:p>
          <a:p>
            <a:endParaRPr lang="en-US" b="0" i="0" dirty="0">
              <a:solidFill>
                <a:srgbClr val="E6E6E6"/>
              </a:solidFill>
              <a:effectLst/>
              <a:latin typeface="Segoe UI" panose="020B0502040204020203" pitchFamily="34" charset="0"/>
            </a:endParaRPr>
          </a:p>
          <a:p>
            <a:endParaRPr lang="en-US" b="0" i="0" dirty="0">
              <a:solidFill>
                <a:srgbClr val="E6E6E6"/>
              </a:solidFill>
              <a:effectLst/>
              <a:latin typeface="Segoe UI" panose="020B0502040204020203" pitchFamily="34" charset="0"/>
            </a:endParaRPr>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Slide Number Placeholder 8"/>
          <p:cNvSpPr>
            <a:spLocks noGrp="1"/>
          </p:cNvSpPr>
          <p:nvPr>
            <p:ph type="sldNum"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280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3137" kern="0" dirty="0">
                <a:solidFill>
                  <a:srgbClr val="000000"/>
                </a:solidFill>
              </a:rPr>
              <a:t>Two basic types:</a:t>
            </a:r>
          </a:p>
          <a:p>
            <a:pPr lvl="1"/>
            <a:r>
              <a:rPr lang="en-GB" sz="3137" kern="0" dirty="0">
                <a:solidFill>
                  <a:srgbClr val="000000"/>
                </a:solidFill>
              </a:rPr>
              <a:t>Real-time state information</a:t>
            </a:r>
          </a:p>
          <a:p>
            <a:pPr lvl="1"/>
            <a:r>
              <a:rPr lang="en-GB" sz="3137" kern="0" dirty="0">
                <a:solidFill>
                  <a:srgbClr val="000000"/>
                </a:solidFill>
              </a:rPr>
              <a:t>Historical information</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The DMVs that end with the word “stats” will display historical inform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The DMVs that do not end with the word “stats” will display current activity.</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0" i="0" dirty="0">
                <a:solidFill>
                  <a:srgbClr val="E6E6E6"/>
                </a:solidFill>
                <a:effectLst/>
                <a:latin typeface="Segoe UI" panose="020B0502040204020203" pitchFamily="34" charset="0"/>
              </a:rPr>
              <a:t>To return useful information about the computer, and about the resources available to and consumed by SQL Server use the </a:t>
            </a:r>
            <a:r>
              <a:rPr lang="pt-BR" sz="2000" b="1" i="0" dirty="0">
                <a:solidFill>
                  <a:srgbClr val="E6E6E6"/>
                </a:solidFill>
                <a:effectLst/>
                <a:latin typeface="Segoe UI" panose="020B0502040204020203" pitchFamily="34" charset="0"/>
              </a:rPr>
              <a:t>sys.dm_os_sys_info</a:t>
            </a: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 view. (https://docs.microsoft.com/en-us/sql/relational-databases/system-dynamic-management-views/sys-dm-os-sys-info-transact-sql)</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lvl="0"/>
            <a:endParaRPr lang="en-GB" sz="3137" kern="0" dirty="0">
              <a:solidFill>
                <a:srgbClr val="000000"/>
              </a:solidFill>
            </a:endParaRPr>
          </a:p>
          <a:p>
            <a:pPr lvl="1"/>
            <a:endParaRPr lang="en-GB" sz="3137" kern="0" dirty="0">
              <a:solidFill>
                <a:srgbClr val="000000"/>
              </a:solidFill>
            </a:endParaRPr>
          </a:p>
          <a:p>
            <a:pPr marL="100584" lvl="1" indent="0">
              <a:buNone/>
            </a:pPr>
            <a:r>
              <a:rPr lang="en-GB" sz="3137" kern="0" dirty="0">
                <a:solidFill>
                  <a:srgbClr val="000000"/>
                </a:solidFill>
              </a:rPr>
              <a:t>	</a:t>
            </a:r>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73115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1</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20/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1_SQL_Architecture\</a:t>
            </a:r>
            <a:r>
              <a:rPr lang="en-US" b="0" dirty="0"/>
              <a:t>Use Overview of </a:t>
            </a:r>
            <a:r>
              <a:rPr lang="en-US" b="0" dirty="0" err="1"/>
              <a:t>DMVs.sql</a:t>
            </a:r>
            <a:endParaRPr lang="en-US" b="0" dirty="0"/>
          </a:p>
          <a:p>
            <a:endParaRPr lang="en-US" dirty="0"/>
          </a:p>
          <a:p>
            <a:r>
              <a:rPr lang="en-US" dirty="0"/>
              <a:t>Key here is to understand why are the DMVs useful. You will be able to determine factors such as:</a:t>
            </a:r>
          </a:p>
          <a:p>
            <a:pPr marL="171450" lvl="0" indent="-171450">
              <a:buFont typeface="Arial" panose="020B0604020202020204" pitchFamily="34" charset="0"/>
              <a:buChar char="•"/>
            </a:pPr>
            <a:r>
              <a:rPr lang="en-US" sz="800" kern="1200" dirty="0">
                <a:solidFill>
                  <a:schemeClr val="tx1"/>
                </a:solidFill>
                <a:effectLst/>
                <a:latin typeface="Segoe UI Light" pitchFamily="34" charset="0"/>
                <a:ea typeface="+mn-ea"/>
                <a:cs typeface="+mn-cs"/>
              </a:rPr>
              <a:t>Need to add more CPUs</a:t>
            </a:r>
          </a:p>
          <a:p>
            <a:pPr marL="171450" lvl="0" indent="-171450">
              <a:buFont typeface="Arial" panose="020B0604020202020204" pitchFamily="34" charset="0"/>
              <a:buChar char="•"/>
            </a:pPr>
            <a:r>
              <a:rPr lang="en-US" dirty="0"/>
              <a:t>N</a:t>
            </a:r>
            <a:r>
              <a:rPr lang="en-US" dirty="0">
                <a:effectLst/>
              </a:rPr>
              <a:t>eed to add more memory</a:t>
            </a:r>
          </a:p>
          <a:p>
            <a:pPr marL="171450" lvl="0" indent="-171450">
              <a:buFont typeface="Arial" panose="020B0604020202020204" pitchFamily="34" charset="0"/>
              <a:buChar char="•"/>
            </a:pPr>
            <a:r>
              <a:rPr lang="en-US" dirty="0"/>
              <a:t>R</a:t>
            </a:r>
            <a:r>
              <a:rPr lang="en-US" dirty="0">
                <a:effectLst/>
              </a:rPr>
              <a:t>unning under memory pressure</a:t>
            </a:r>
          </a:p>
          <a:p>
            <a:pPr marL="171450" lvl="0" indent="-171450">
              <a:buFont typeface="Arial" panose="020B0604020202020204" pitchFamily="34" charset="0"/>
              <a:buChar char="•"/>
            </a:pPr>
            <a:r>
              <a:rPr lang="en-US" dirty="0"/>
              <a:t>H</a:t>
            </a:r>
            <a:r>
              <a:rPr lang="en-US" dirty="0">
                <a:effectLst/>
              </a:rPr>
              <a:t>ave problems with disks</a:t>
            </a:r>
          </a:p>
          <a:p>
            <a:pPr marL="171450" lvl="0" indent="-171450">
              <a:buFont typeface="Arial" panose="020B0604020202020204" pitchFamily="34" charset="0"/>
              <a:buChar char="•"/>
            </a:pPr>
            <a:r>
              <a:rPr lang="en-US" dirty="0"/>
              <a:t>M</a:t>
            </a:r>
            <a:r>
              <a:rPr lang="en-US" dirty="0">
                <a:effectLst/>
              </a:rPr>
              <a:t>ove to a 64-bit based solution</a:t>
            </a:r>
          </a:p>
          <a:p>
            <a:pPr marL="171450" lvl="0" indent="-171450">
              <a:buFont typeface="Arial" panose="020B0604020202020204" pitchFamily="34" charset="0"/>
              <a:buChar char="•"/>
            </a:pPr>
            <a:r>
              <a:rPr lang="en-US" dirty="0"/>
              <a:t>N</a:t>
            </a:r>
            <a:r>
              <a:rPr lang="en-US" dirty="0">
                <a:effectLst/>
              </a:rPr>
              <a:t>eed to change your application for query correctness reasons</a:t>
            </a:r>
          </a:p>
          <a:p>
            <a:pPr marL="171450" lvl="0" indent="-171450">
              <a:buFont typeface="Arial" panose="020B0604020202020204" pitchFamily="34" charset="0"/>
              <a:buChar char="•"/>
            </a:pPr>
            <a:r>
              <a:rPr lang="en-US" dirty="0"/>
              <a:t>W</a:t>
            </a:r>
            <a:r>
              <a:rPr lang="en-US" dirty="0">
                <a:effectLst/>
              </a:rPr>
              <a:t>hat applications are loaded into the SQL Server address space</a:t>
            </a:r>
          </a:p>
          <a:p>
            <a:pPr marL="171450" lvl="0" indent="-171450">
              <a:buFont typeface="Arial" panose="020B0604020202020204" pitchFamily="34" charset="0"/>
              <a:buChar char="•"/>
            </a:pPr>
            <a:r>
              <a:rPr lang="en-US" dirty="0">
                <a:effectLst/>
              </a:rPr>
              <a:t>If SQL Server is paged out and if it affects performance of your application</a:t>
            </a:r>
          </a:p>
          <a:p>
            <a:pPr marL="171450" lvl="0" indent="-171450">
              <a:buFont typeface="Arial" panose="020B0604020202020204" pitchFamily="34" charset="0"/>
              <a:buChar char="•"/>
            </a:pPr>
            <a:r>
              <a:rPr lang="en-US" dirty="0"/>
              <a:t>I</a:t>
            </a:r>
            <a:r>
              <a:rPr lang="en-US" dirty="0">
                <a:effectLst/>
              </a:rPr>
              <a:t>f your hardware is NUMA</a:t>
            </a:r>
          </a:p>
          <a:p>
            <a:pPr marL="171450" indent="-171450">
              <a:buFont typeface="Arial" panose="020B0604020202020204" pitchFamily="34" charset="0"/>
              <a:buChar char="•"/>
            </a:pPr>
            <a:r>
              <a:rPr lang="en-US" dirty="0"/>
              <a:t>The list goes on…</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08150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2</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20/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814905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2723653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23570194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1490591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9288647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0581075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3648951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756650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4897510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9795042"/>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70B60D68-C422-A561-69C9-DE3CE7ABB09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83759506"/>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85853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63962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780283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162246"/>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75535537"/>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2" name="Text Box 3">
            <a:extLst>
              <a:ext uri="{FF2B5EF4-FFF2-40B4-BE49-F238E27FC236}">
                <a16:creationId xmlns:a16="http://schemas.microsoft.com/office/drawing/2014/main" id="{77C40084-220F-7BD1-75F7-3C712A66A9F1}"/>
              </a:ext>
            </a:extLst>
          </p:cNvPr>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a:extLst>
              <a:ext uri="{FF2B5EF4-FFF2-40B4-BE49-F238E27FC236}">
                <a16:creationId xmlns:a16="http://schemas.microsoft.com/office/drawing/2014/main" id="{07091873-9FDC-DB87-D998-2CE7AECC755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091653256"/>
      </p:ext>
    </p:extLst>
  </p:cSld>
  <p:clrMapOvr>
    <a:masterClrMapping/>
  </p:clrMapOvr>
  <p:transition>
    <p:fade/>
  </p:transition>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543946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960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89118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178451670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04093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6698096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6801735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621180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21684864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388891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5701060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294794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0525736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9738617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1489799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7383125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76541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2441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2205143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87552544"/>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9108504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76501784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5320898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50066167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312725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1901356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9666508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4088487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3603385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4238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6348436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4624175"/>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6614186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1911807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3132357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385158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198582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280293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1774838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339705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914975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704740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4498683"/>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714841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1191240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69271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089259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8174341"/>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863597"/>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974843754"/>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1251639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277804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60164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574424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78702221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821763A-F6F8-FD7D-0449-9E3D3E95EB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4043411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28EBA246-442B-3F35-48AA-C264C7540E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01651527"/>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56A091F5-9B67-3A00-826A-1A4782761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21541503"/>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865DB95E-85DB-83BA-BFDD-98FDF9D09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59445041"/>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9DE2C3E9-90D6-83B6-B29F-69CBDC63D9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19697327"/>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0820694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24019552"/>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3339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4240321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5173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985867"/>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7576643"/>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36603853"/>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948130992"/>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97407580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645973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81363100"/>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808637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3779242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6893381"/>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61046154"/>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423507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29284311"/>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8330826"/>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5713760"/>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0327804"/>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94129213"/>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8081607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4906912"/>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4451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990986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00305967"/>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81287886"/>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8190598"/>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131649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2409244"/>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FB337EDF-6D1D-D9FC-700C-E4FE3D517F0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54386706"/>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9A6EFCF4-D161-EDDC-4F1D-528E88BDF524}"/>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932624"/>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672734"/>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529045"/>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20506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39972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69686"/>
      </p:ext>
    </p:extLst>
  </p:cSld>
  <p:clrMapOvr>
    <a:masterClrMapping/>
  </p:clrMapOvr>
  <p:hf sldNum="0" hdr="0" ftr="0" dt="0"/>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849590"/>
      </p:ext>
    </p:extLst>
  </p:cSld>
  <p:clrMapOvr>
    <a:masterClrMapping/>
  </p:clrMapOvr>
  <p:hf sldNum="0" hdr="0" ftr="0" dt="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4B745D85-4481-2BE7-0D6A-D6175E91161B}"/>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967645956"/>
      </p:ext>
    </p:extLst>
  </p:cSld>
  <p:clrMapOvr>
    <a:masterClrMapping/>
  </p:clrMapOvr>
  <p:hf sldNum="0" hdr="0" ftr="0" dt="0"/>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EF5B8A4-D209-1856-1704-36CF8608C9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79281452"/>
      </p:ext>
    </p:extLst>
  </p:cSld>
  <p:clrMapOvr>
    <a:masterClrMapping/>
  </p:clrMapOvr>
  <p:hf sldNum="0" hdr="0" ftr="0" dt="0"/>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1696192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8777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11219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8243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1666847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437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72367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56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783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72975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130363673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1559632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1397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1270012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6557640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10637411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61758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91562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01697685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795629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045431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5985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42293898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187360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259059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45217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370527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349285737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66918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3615173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8034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913203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178732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64723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4089722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0164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64317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62508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371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83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4596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1889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271808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3043624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69719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9792481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6525373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63" tIns="179222" rIns="119483" bIns="59740" rtlCol="0" anchor="t" anchorCtr="0">
            <a:noAutofit/>
          </a:bodyPr>
          <a:lstStyle/>
          <a:p>
            <a:pPr defTabSz="597351">
              <a:lnSpc>
                <a:spcPct val="90000"/>
              </a:lnSpc>
              <a:spcAft>
                <a:spcPts val="784"/>
              </a:spcAft>
              <a:defRPr/>
            </a:pPr>
            <a:r>
              <a:rPr lang="en-US" sz="120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351">
              <a:lnSpc>
                <a:spcPct val="90000"/>
              </a:lnSpc>
              <a:spcAft>
                <a:spcPts val="784"/>
              </a:spcAft>
              <a:defRPr/>
            </a:pPr>
            <a:r>
              <a:rPr lang="en-US" sz="120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351">
              <a:lnSpc>
                <a:spcPct val="90000"/>
              </a:lnSpc>
              <a:spcAft>
                <a:spcPts val="392"/>
              </a:spcAft>
              <a:defRPr/>
            </a:pPr>
            <a:r>
              <a:rPr lang="en-US" sz="1200">
                <a:solidFill>
                  <a:srgbClr val="000000">
                    <a:alpha val="87000"/>
                  </a:srgbClr>
                </a:solidFill>
                <a:cs typeface="Segoe UI" panose="020B0502040204020203" pitchFamily="34" charset="0"/>
              </a:rPr>
              <a:t>For more information, see Use of Microsoft Copyrighted Content at</a:t>
            </a:r>
          </a:p>
          <a:p>
            <a:pPr algn="ctr" defTabSz="597351">
              <a:lnSpc>
                <a:spcPct val="90000"/>
              </a:lnSpc>
              <a:spcAft>
                <a:spcPts val="784"/>
              </a:spcAft>
              <a:defRPr/>
            </a:pPr>
            <a:r>
              <a:rPr lang="en-US" sz="1200" u="sng">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a:solidFill>
                <a:prstClr val="black"/>
              </a:solidFill>
              <a:cs typeface="Segoe UI" panose="020B0502040204020203" pitchFamily="34" charset="0"/>
            </a:endParaRPr>
          </a:p>
          <a:p>
            <a:pPr defTabSz="597351">
              <a:lnSpc>
                <a:spcPct val="90000"/>
              </a:lnSpc>
              <a:spcAft>
                <a:spcPts val="784"/>
              </a:spcAft>
              <a:defRPr/>
            </a:pPr>
            <a:r>
              <a:rPr lang="en-IN" sz="120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351">
              <a:lnSpc>
                <a:spcPct val="90000"/>
              </a:lnSpc>
              <a:spcAft>
                <a:spcPts val="784"/>
              </a:spcAft>
              <a:defRPr/>
            </a:pPr>
            <a:endParaRPr lang="en-US" sz="1333">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467" b="1">
                <a:solidFill>
                  <a:srgbClr val="000000"/>
                </a:solidFill>
                <a:cs typeface="Segoe UI" panose="020B0502040204020203" pitchFamily="34" charset="0"/>
              </a:rPr>
              <a:t>Conditions and Terms of Use</a:t>
            </a:r>
            <a:endParaRPr lang="en-US" sz="1467">
              <a:solidFill>
                <a:srgbClr val="000000"/>
              </a:solidFill>
              <a:cs typeface="Segoe UI" panose="020B0502040204020203" pitchFamily="34" charset="0"/>
            </a:endParaRPr>
          </a:p>
        </p:txBody>
      </p:sp>
      <p:sp>
        <p:nvSpPr>
          <p:cNvPr id="14" name="TextBox 13"/>
          <p:cNvSpPr txBox="1"/>
          <p:nvPr userDrawn="1"/>
        </p:nvSpPr>
        <p:spPr>
          <a:xfrm>
            <a:off x="301740" y="2812964"/>
            <a:ext cx="3087685" cy="363312"/>
          </a:xfrm>
          <a:prstGeom prst="rect">
            <a:avLst/>
          </a:prstGeom>
          <a:noFill/>
          <a:ln>
            <a:noFill/>
          </a:ln>
        </p:spPr>
        <p:txBody>
          <a:bodyPr vert="horz" wrap="none" lIns="238963" tIns="179222" rIns="119483" bIns="59740" rtlCol="0" anchor="ctr" anchorCtr="0">
            <a:noAutofit/>
          </a:bodyPr>
          <a:lstStyle/>
          <a:p>
            <a:pPr defTabSz="597351">
              <a:defRPr/>
            </a:pPr>
            <a:r>
              <a:rPr lang="en-US" sz="1467" b="1">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3"/>
            <a:ext cx="11454317" cy="2390805"/>
          </a:xfrm>
          <a:prstGeom prst="rect">
            <a:avLst/>
          </a:prstGeom>
          <a:noFill/>
          <a:ln>
            <a:noFill/>
          </a:ln>
        </p:spPr>
        <p:txBody>
          <a:bodyPr vert="horz" wrap="square" lIns="238963" tIns="179222" rIns="119483" bIns="59740" rtlCol="0" anchor="t" anchorCtr="0">
            <a:normAutofit/>
          </a:bodyPr>
          <a:lstStyle/>
          <a:p>
            <a:pPr defTabSz="597351">
              <a:spcAft>
                <a:spcPts val="784"/>
              </a:spcAft>
              <a:defRPr/>
            </a:pPr>
            <a:r>
              <a:rPr lang="en-US" sz="120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351">
              <a:spcAft>
                <a:spcPts val="784"/>
              </a:spcAft>
              <a:defRPr/>
            </a:pPr>
            <a:r>
              <a:rPr lang="en-US" sz="120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351">
              <a:spcAft>
                <a:spcPts val="784"/>
              </a:spcAft>
              <a:defRPr/>
            </a:pPr>
            <a:r>
              <a:rPr lang="en-US" sz="120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351">
              <a:spcAft>
                <a:spcPts val="784"/>
              </a:spcAft>
              <a:defRPr/>
            </a:pPr>
            <a:endParaRPr lang="en-US" sz="1333">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3714065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2692491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63869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974066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94509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616899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38151416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518330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1"/>
            <a:ext cx="12448814" cy="6989885"/>
          </a:xfrm>
          <a:prstGeom prst="rect">
            <a:avLst/>
          </a:prstGeom>
        </p:spPr>
      </p:pic>
      <p:sp>
        <p:nvSpPr>
          <p:cNvPr id="10" name="Rectangle 9"/>
          <p:cNvSpPr/>
          <p:nvPr userDrawn="1"/>
        </p:nvSpPr>
        <p:spPr bwMode="auto">
          <a:xfrm>
            <a:off x="-87922" y="4"/>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3" y="1350387"/>
            <a:ext cx="12206593" cy="364265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430772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579324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605241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8636753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143189991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607304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8726915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3879186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658309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2433597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3440858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2570531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8798689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7900282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1291394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5488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8354947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177887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144278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1586775"/>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53034517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47756185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003838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7337038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4118125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7523177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9256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3812942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7282060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265230"/>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90591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0068222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84780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424516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3252767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9767395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293332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image" Target="../media/image1.pn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heme" Target="../theme/theme3.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50" Type="http://schemas.openxmlformats.org/officeDocument/2006/relationships/tags" Target="../tags/tag5.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image" Target="../media/image1.png"/><Relationship Id="rId5" Type="http://schemas.openxmlformats.org/officeDocument/2006/relationships/slideLayout" Target="../slideLayouts/slideLayout7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image" Target="../media/image9.emf"/><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theme" Target="../theme/theme4.xml"/><Relationship Id="rId8" Type="http://schemas.openxmlformats.org/officeDocument/2006/relationships/slideLayout" Target="../slideLayouts/slideLayout77.xml"/><Relationship Id="rId51" Type="http://schemas.openxmlformats.org/officeDocument/2006/relationships/tags" Target="../tags/tag6.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9" Type="http://schemas.openxmlformats.org/officeDocument/2006/relationships/slideLayout" Target="../slideLayouts/slideLayout155.xml"/><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42" Type="http://schemas.openxmlformats.org/officeDocument/2006/relationships/slideLayout" Target="../slideLayouts/slideLayout158.xml"/><Relationship Id="rId47" Type="http://schemas.openxmlformats.org/officeDocument/2006/relationships/tags" Target="../tags/tag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9" Type="http://schemas.openxmlformats.org/officeDocument/2006/relationships/slideLayout" Target="../slideLayouts/slideLayout145.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37" Type="http://schemas.openxmlformats.org/officeDocument/2006/relationships/slideLayout" Target="../slideLayouts/slideLayout153.xml"/><Relationship Id="rId40" Type="http://schemas.openxmlformats.org/officeDocument/2006/relationships/slideLayout" Target="../slideLayouts/slideLayout156.xml"/><Relationship Id="rId45" Type="http://schemas.openxmlformats.org/officeDocument/2006/relationships/theme" Target="../theme/theme5.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slideLayout" Target="../slideLayouts/slideLayout152.xml"/><Relationship Id="rId49" Type="http://schemas.openxmlformats.org/officeDocument/2006/relationships/image" Target="../media/image9.emf"/><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4" Type="http://schemas.openxmlformats.org/officeDocument/2006/relationships/slideLayout" Target="../slideLayouts/slideLayout160.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 Id="rId43" Type="http://schemas.openxmlformats.org/officeDocument/2006/relationships/slideLayout" Target="../slideLayouts/slideLayout159.xml"/><Relationship Id="rId48" Type="http://schemas.openxmlformats.org/officeDocument/2006/relationships/tags" Target="../tags/tag10.xml"/><Relationship Id="rId8" Type="http://schemas.openxmlformats.org/officeDocument/2006/relationships/slideLayout" Target="../slideLayouts/slideLayout124.xml"/><Relationship Id="rId3" Type="http://schemas.openxmlformats.org/officeDocument/2006/relationships/slideLayout" Target="../slideLayouts/slideLayout119.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38" Type="http://schemas.openxmlformats.org/officeDocument/2006/relationships/slideLayout" Target="../slideLayouts/slideLayout154.xml"/><Relationship Id="rId46" Type="http://schemas.openxmlformats.org/officeDocument/2006/relationships/tags" Target="../tags/tag8.xml"/><Relationship Id="rId20" Type="http://schemas.openxmlformats.org/officeDocument/2006/relationships/slideLayout" Target="../slideLayouts/slideLayout136.xml"/><Relationship Id="rId41" Type="http://schemas.openxmlformats.org/officeDocument/2006/relationships/slideLayout" Target="../slideLayouts/slideLayout157.xml"/><Relationship Id="rId1" Type="http://schemas.openxmlformats.org/officeDocument/2006/relationships/slideLayout" Target="../slideLayouts/slideLayout117.xml"/><Relationship Id="rId6" Type="http://schemas.openxmlformats.org/officeDocument/2006/relationships/slideLayout" Target="../slideLayouts/slideLayout12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9" Type="http://schemas.openxmlformats.org/officeDocument/2006/relationships/slideLayout" Target="../slideLayouts/slideLayout199.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42" Type="http://schemas.openxmlformats.org/officeDocument/2006/relationships/slideLayout" Target="../slideLayouts/slideLayout202.xml"/><Relationship Id="rId47" Type="http://schemas.openxmlformats.org/officeDocument/2006/relationships/slideLayout" Target="../slideLayouts/slideLayout207.xml"/><Relationship Id="rId50" Type="http://schemas.openxmlformats.org/officeDocument/2006/relationships/slideLayout" Target="../slideLayouts/slideLayout210.xml"/><Relationship Id="rId55" Type="http://schemas.openxmlformats.org/officeDocument/2006/relationships/theme" Target="../theme/theme6.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9" Type="http://schemas.openxmlformats.org/officeDocument/2006/relationships/slideLayout" Target="../slideLayouts/slideLayout189.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37" Type="http://schemas.openxmlformats.org/officeDocument/2006/relationships/slideLayout" Target="../slideLayouts/slideLayout197.xml"/><Relationship Id="rId40" Type="http://schemas.openxmlformats.org/officeDocument/2006/relationships/slideLayout" Target="../slideLayouts/slideLayout200.xml"/><Relationship Id="rId45" Type="http://schemas.openxmlformats.org/officeDocument/2006/relationships/slideLayout" Target="../slideLayouts/slideLayout205.xml"/><Relationship Id="rId53" Type="http://schemas.openxmlformats.org/officeDocument/2006/relationships/slideLayout" Target="../slideLayouts/slideLayout213.xml"/><Relationship Id="rId58" Type="http://schemas.openxmlformats.org/officeDocument/2006/relationships/tags" Target="../tags/tag13.xml"/><Relationship Id="rId5" Type="http://schemas.openxmlformats.org/officeDocument/2006/relationships/slideLayout" Target="../slideLayouts/slideLayout165.xml"/><Relationship Id="rId61" Type="http://schemas.openxmlformats.org/officeDocument/2006/relationships/image" Target="../media/image9.emf"/><Relationship Id="rId19" Type="http://schemas.openxmlformats.org/officeDocument/2006/relationships/slideLayout" Target="../slideLayouts/slideLayout17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 Id="rId43" Type="http://schemas.openxmlformats.org/officeDocument/2006/relationships/slideLayout" Target="../slideLayouts/slideLayout203.xml"/><Relationship Id="rId48" Type="http://schemas.openxmlformats.org/officeDocument/2006/relationships/slideLayout" Target="../slideLayouts/slideLayout208.xml"/><Relationship Id="rId56" Type="http://schemas.openxmlformats.org/officeDocument/2006/relationships/tags" Target="../tags/tag11.xml"/><Relationship Id="rId8" Type="http://schemas.openxmlformats.org/officeDocument/2006/relationships/slideLayout" Target="../slideLayouts/slideLayout168.xml"/><Relationship Id="rId51" Type="http://schemas.openxmlformats.org/officeDocument/2006/relationships/slideLayout" Target="../slideLayouts/slideLayout211.xml"/><Relationship Id="rId3" Type="http://schemas.openxmlformats.org/officeDocument/2006/relationships/slideLayout" Target="../slideLayouts/slideLayout163.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slideLayout" Target="../slideLayouts/slideLayout198.xml"/><Relationship Id="rId46" Type="http://schemas.openxmlformats.org/officeDocument/2006/relationships/slideLayout" Target="../slideLayouts/slideLayout206.xml"/><Relationship Id="rId59" Type="http://schemas.openxmlformats.org/officeDocument/2006/relationships/tags" Target="../tags/tag14.xml"/><Relationship Id="rId20" Type="http://schemas.openxmlformats.org/officeDocument/2006/relationships/slideLayout" Target="../slideLayouts/slideLayout180.xml"/><Relationship Id="rId41" Type="http://schemas.openxmlformats.org/officeDocument/2006/relationships/slideLayout" Target="../slideLayouts/slideLayout201.xml"/><Relationship Id="rId54" Type="http://schemas.openxmlformats.org/officeDocument/2006/relationships/slideLayout" Target="../slideLayouts/slideLayout214.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slideLayout" Target="../slideLayouts/slideLayout196.xml"/><Relationship Id="rId49" Type="http://schemas.openxmlformats.org/officeDocument/2006/relationships/slideLayout" Target="../slideLayouts/slideLayout209.xml"/><Relationship Id="rId57" Type="http://schemas.openxmlformats.org/officeDocument/2006/relationships/tags" Target="../tags/tag12.xml"/><Relationship Id="rId10" Type="http://schemas.openxmlformats.org/officeDocument/2006/relationships/slideLayout" Target="../slideLayouts/slideLayout170.xml"/><Relationship Id="rId31" Type="http://schemas.openxmlformats.org/officeDocument/2006/relationships/slideLayout" Target="../slideLayouts/slideLayout191.xml"/><Relationship Id="rId44" Type="http://schemas.openxmlformats.org/officeDocument/2006/relationships/slideLayout" Target="../slideLayouts/slideLayout204.xml"/><Relationship Id="rId52" Type="http://schemas.openxmlformats.org/officeDocument/2006/relationships/slideLayout" Target="../slideLayouts/slideLayout212.xml"/><Relationship Id="rId60" Type="http://schemas.openxmlformats.org/officeDocument/2006/relationships/tags" Target="../tags/tag15.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18463430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07475735"/>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882206048"/>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44" r:id="rId10"/>
  </p:sldLayoutIdLst>
  <p:hf hdr="0" ftr="0" dt="0"/>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195D07C6-48D7-CB60-C2FD-6472E6D30615}"/>
              </a:ext>
            </a:extLst>
          </p:cNvPr>
          <p:cNvPicPr>
            <a:picLocks noChangeAspect="1"/>
          </p:cNvPicPr>
          <p:nvPr userDrawn="1"/>
        </p:nvPicPr>
        <p:blipFill>
          <a:blip r:embed="rId5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733738341"/>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 id="2147483877" r:id="rId32"/>
    <p:sldLayoutId id="2147483878" r:id="rId33"/>
    <p:sldLayoutId id="2147483879" r:id="rId34"/>
    <p:sldLayoutId id="2147483880" r:id="rId35"/>
    <p:sldLayoutId id="2147483881" r:id="rId36"/>
    <p:sldLayoutId id="2147483882" r:id="rId37"/>
    <p:sldLayoutId id="2147483883" r:id="rId38"/>
    <p:sldLayoutId id="2147483884" r:id="rId39"/>
    <p:sldLayoutId id="2147483885" r:id="rId40"/>
    <p:sldLayoutId id="2147483886" r:id="rId41"/>
    <p:sldLayoutId id="2147483887" r:id="rId42"/>
    <p:sldLayoutId id="2147483888" r:id="rId43"/>
    <p:sldLayoutId id="2147483889" r:id="rId44"/>
    <p:sldLayoutId id="2147483890" r:id="rId45"/>
    <p:sldLayoutId id="2147483891" r:id="rId46"/>
    <p:sldLayoutId id="2147483892" r:id="rId47"/>
  </p:sldLayoutIdLst>
  <p:transition>
    <p:fade/>
  </p:transition>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74162866"/>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 id="2147483929" r:id="rId36"/>
    <p:sldLayoutId id="2147483930" r:id="rId37"/>
    <p:sldLayoutId id="2147483931" r:id="rId38"/>
    <p:sldLayoutId id="2147483932" r:id="rId39"/>
    <p:sldLayoutId id="2147483933" r:id="rId40"/>
    <p:sldLayoutId id="2147483934" r:id="rId41"/>
    <p:sldLayoutId id="2147483935" r:id="rId42"/>
    <p:sldLayoutId id="2147483936" r:id="rId43"/>
    <p:sldLayoutId id="2147483937"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E4B9F0DC-77A5-EA7F-25EF-62B3F9717888}"/>
              </a:ext>
              <a:ext uri="{C183D7F6-B498-43B3-948B-1728B52AA6E4}">
                <adec:decorative xmlns:adec="http://schemas.microsoft.com/office/drawing/2017/decorative" val="1"/>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B25C562B-100B-FDDF-E3D1-8CEAB035DEA0}"/>
              </a:ext>
            </a:extLst>
          </p:cNvPr>
          <p:cNvSpPr/>
          <p:nvPr userDrawn="1">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0218099"/>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6" r:id="rId28"/>
    <p:sldLayoutId id="2147483967" r:id="rId29"/>
    <p:sldLayoutId id="2147483968" r:id="rId30"/>
    <p:sldLayoutId id="2147483969" r:id="rId31"/>
    <p:sldLayoutId id="2147483970" r:id="rId32"/>
    <p:sldLayoutId id="2147483971" r:id="rId33"/>
    <p:sldLayoutId id="2147483972" r:id="rId34"/>
    <p:sldLayoutId id="2147483973" r:id="rId35"/>
    <p:sldLayoutId id="2147483974" r:id="rId36"/>
    <p:sldLayoutId id="2147483975" r:id="rId37"/>
    <p:sldLayoutId id="2147483976" r:id="rId38"/>
    <p:sldLayoutId id="2147483977" r:id="rId39"/>
    <p:sldLayoutId id="2147483978" r:id="rId40"/>
    <p:sldLayoutId id="2147483979" r:id="rId41"/>
    <p:sldLayoutId id="2147483980" r:id="rId42"/>
    <p:sldLayoutId id="2147483981" r:id="rId43"/>
    <p:sldLayoutId id="2147483982" r:id="rId44"/>
    <p:sldLayoutId id="2147483983" r:id="rId45"/>
    <p:sldLayoutId id="2147483984" r:id="rId46"/>
    <p:sldLayoutId id="2147483985" r:id="rId47"/>
    <p:sldLayoutId id="2147483986" r:id="rId48"/>
    <p:sldLayoutId id="2147483744" r:id="rId49"/>
    <p:sldLayoutId id="2147483707" r:id="rId50"/>
    <p:sldLayoutId id="2147483708" r:id="rId51"/>
    <p:sldLayoutId id="2147483737" r:id="rId52"/>
    <p:sldLayoutId id="2147483727" r:id="rId53"/>
    <p:sldLayoutId id="2147483756"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4.xml"/><Relationship Id="rId1" Type="http://schemas.openxmlformats.org/officeDocument/2006/relationships/tags" Target="../tags/tag25.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0.xml"/><Relationship Id="rId1" Type="http://schemas.openxmlformats.org/officeDocument/2006/relationships/tags" Target="../tags/tag27.xml"/><Relationship Id="rId4" Type="http://schemas.openxmlformats.org/officeDocument/2006/relationships/image" Target="../media/image14.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5.jpeg"/><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17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5.xml.rels><?xml version="1.0" encoding="UTF-8" standalone="yes"?>
<Relationships xmlns="http://schemas.openxmlformats.org/package/2006/relationships"><Relationship Id="rId3" Type="http://schemas.openxmlformats.org/officeDocument/2006/relationships/customXml" Target="../../customXml/item5.xml"/><Relationship Id="rId7" Type="http://schemas.openxmlformats.org/officeDocument/2006/relationships/image" Target="../media/image12.png"/><Relationship Id="rId2" Type="http://schemas.openxmlformats.org/officeDocument/2006/relationships/customXml" Target="../../customXml/item7.xml"/><Relationship Id="rId1" Type="http://schemas.openxmlformats.org/officeDocument/2006/relationships/tags" Target="../tags/tag30.xml"/><Relationship Id="rId6" Type="http://schemas.openxmlformats.org/officeDocument/2006/relationships/notesSlide" Target="../notesSlides/notesSlide11.xml"/><Relationship Id="rId5" Type="http://schemas.openxmlformats.org/officeDocument/2006/relationships/slideLayout" Target="../slideLayouts/slideLayout169.xml"/><Relationship Id="rId4" Type="http://schemas.openxmlformats.org/officeDocument/2006/relationships/tags" Target="../tags/tag31.xml"/></Relationships>
</file>

<file path=ppt/slides/_rels/slide16.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12.xml"/><Relationship Id="rId7" Type="http://schemas.openxmlformats.org/officeDocument/2006/relationships/diagramColors" Target="../diagrams/colors4.xml"/><Relationship Id="rId2" Type="http://schemas.openxmlformats.org/officeDocument/2006/relationships/slideLayout" Target="../slideLayouts/slideLayout208.xml"/><Relationship Id="rId1" Type="http://schemas.openxmlformats.org/officeDocument/2006/relationships/tags" Target="../tags/tag3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7.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13.xml"/><Relationship Id="rId7" Type="http://schemas.openxmlformats.org/officeDocument/2006/relationships/diagramColors" Target="../diagrams/colors5.xml"/><Relationship Id="rId2" Type="http://schemas.openxmlformats.org/officeDocument/2006/relationships/slideLayout" Target="../slideLayouts/slideLayout168.xml"/><Relationship Id="rId1" Type="http://schemas.openxmlformats.org/officeDocument/2006/relationships/tags" Target="../tags/tag3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8.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4.xml"/><Relationship Id="rId7" Type="http://schemas.openxmlformats.org/officeDocument/2006/relationships/diagramColors" Target="../diagrams/colors6.xml"/><Relationship Id="rId2" Type="http://schemas.openxmlformats.org/officeDocument/2006/relationships/slideLayout" Target="../slideLayouts/slideLayout168.xml"/><Relationship Id="rId1" Type="http://schemas.openxmlformats.org/officeDocument/2006/relationships/tags" Target="../tags/tag35.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9.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5.xml"/><Relationship Id="rId7" Type="http://schemas.openxmlformats.org/officeDocument/2006/relationships/diagramColors" Target="../diagrams/colors7.xml"/><Relationship Id="rId2" Type="http://schemas.openxmlformats.org/officeDocument/2006/relationships/slideLayout" Target="../slideLayouts/slideLayout168.xml"/><Relationship Id="rId1" Type="http://schemas.openxmlformats.org/officeDocument/2006/relationships/tags" Target="../tags/tag36.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20.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6.xml"/><Relationship Id="rId7" Type="http://schemas.openxmlformats.org/officeDocument/2006/relationships/diagramColors" Target="../diagrams/colors8.xml"/><Relationship Id="rId2" Type="http://schemas.openxmlformats.org/officeDocument/2006/relationships/slideLayout" Target="../slideLayouts/slideLayout168.xml"/><Relationship Id="rId1" Type="http://schemas.openxmlformats.org/officeDocument/2006/relationships/tags" Target="../tags/tag37.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1.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17.xml"/><Relationship Id="rId7" Type="http://schemas.openxmlformats.org/officeDocument/2006/relationships/diagramColors" Target="../diagrams/colors9.xml"/><Relationship Id="rId2" Type="http://schemas.openxmlformats.org/officeDocument/2006/relationships/slideLayout" Target="../slideLayouts/slideLayout168.xml"/><Relationship Id="rId1" Type="http://schemas.openxmlformats.org/officeDocument/2006/relationships/tags" Target="../tags/tag38.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8.xml"/><Relationship Id="rId1" Type="http://schemas.openxmlformats.org/officeDocument/2006/relationships/tags" Target="../tags/tag39.xml"/></Relationships>
</file>

<file path=ppt/slides/_rels/slide23.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19.xml"/><Relationship Id="rId7" Type="http://schemas.openxmlformats.org/officeDocument/2006/relationships/diagramColors" Target="../diagrams/colors10.xml"/><Relationship Id="rId2" Type="http://schemas.openxmlformats.org/officeDocument/2006/relationships/slideLayout" Target="../slideLayouts/slideLayout168.xml"/><Relationship Id="rId1" Type="http://schemas.openxmlformats.org/officeDocument/2006/relationships/tags" Target="../tags/tag40.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4.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0.xml"/><Relationship Id="rId7" Type="http://schemas.openxmlformats.org/officeDocument/2006/relationships/diagramColors" Target="../diagrams/colors11.xml"/><Relationship Id="rId2" Type="http://schemas.openxmlformats.org/officeDocument/2006/relationships/slideLayout" Target="../slideLayouts/slideLayout168.xml"/><Relationship Id="rId1" Type="http://schemas.openxmlformats.org/officeDocument/2006/relationships/tags" Target="../tags/tag42.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5.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21.xml"/><Relationship Id="rId7" Type="http://schemas.openxmlformats.org/officeDocument/2006/relationships/diagramColors" Target="../diagrams/colors12.xml"/><Relationship Id="rId2" Type="http://schemas.openxmlformats.org/officeDocument/2006/relationships/slideLayout" Target="../slideLayouts/slideLayout168.xml"/><Relationship Id="rId1" Type="http://schemas.openxmlformats.org/officeDocument/2006/relationships/tags" Target="../tags/tag44.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2.xml"/><Relationship Id="rId1" Type="http://schemas.openxmlformats.org/officeDocument/2006/relationships/slideLayout" Target="../slideLayouts/slideLayout8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6.xml"/><Relationship Id="rId1" Type="http://schemas.openxmlformats.org/officeDocument/2006/relationships/tags" Target="../tags/tag4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80.xml"/><Relationship Id="rId1" Type="http://schemas.openxmlformats.org/officeDocument/2006/relationships/tags" Target="../tags/tag46.xml"/><Relationship Id="rId4" Type="http://schemas.openxmlformats.org/officeDocument/2006/relationships/image" Target="../media/image14.jpe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5.jpeg"/><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6.xml"/><Relationship Id="rId1" Type="http://schemas.openxmlformats.org/officeDocument/2006/relationships/slideLayout" Target="../slideLayouts/slideLayout17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32.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12.png"/><Relationship Id="rId2" Type="http://schemas.openxmlformats.org/officeDocument/2006/relationships/customXml" Target="../../customXml/item6.xml"/><Relationship Id="rId1" Type="http://schemas.openxmlformats.org/officeDocument/2006/relationships/tags" Target="../tags/tag49.xml"/><Relationship Id="rId6" Type="http://schemas.openxmlformats.org/officeDocument/2006/relationships/notesSlide" Target="../notesSlides/notesSlide27.xml"/><Relationship Id="rId5" Type="http://schemas.openxmlformats.org/officeDocument/2006/relationships/slideLayout" Target="../slideLayouts/slideLayout169.xml"/><Relationship Id="rId4" Type="http://schemas.openxmlformats.org/officeDocument/2006/relationships/tags" Target="../tags/tag50.xml"/></Relationships>
</file>

<file path=ppt/slides/_rels/slide33.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28.xml"/><Relationship Id="rId7" Type="http://schemas.openxmlformats.org/officeDocument/2006/relationships/diagramColors" Target="../diagrams/colors15.xml"/><Relationship Id="rId2" Type="http://schemas.openxmlformats.org/officeDocument/2006/relationships/slideLayout" Target="../slideLayouts/slideLayout168.xml"/><Relationship Id="rId1" Type="http://schemas.openxmlformats.org/officeDocument/2006/relationships/tags" Target="../tags/tag51.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34.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29.xml"/><Relationship Id="rId7" Type="http://schemas.openxmlformats.org/officeDocument/2006/relationships/diagramColors" Target="../diagrams/colors16.xml"/><Relationship Id="rId2" Type="http://schemas.openxmlformats.org/officeDocument/2006/relationships/slideLayout" Target="../slideLayouts/slideLayout168.xml"/><Relationship Id="rId1" Type="http://schemas.openxmlformats.org/officeDocument/2006/relationships/tags" Target="../tags/tag53.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35.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notesSlide" Target="../notesSlides/notesSlide30.xml"/><Relationship Id="rId7" Type="http://schemas.openxmlformats.org/officeDocument/2006/relationships/diagramColors" Target="../diagrams/colors17.xml"/><Relationship Id="rId2" Type="http://schemas.openxmlformats.org/officeDocument/2006/relationships/slideLayout" Target="../slideLayouts/slideLayout168.xml"/><Relationship Id="rId1" Type="http://schemas.openxmlformats.org/officeDocument/2006/relationships/tags" Target="../tags/tag55.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8.xml"/><Relationship Id="rId1" Type="http://schemas.openxmlformats.org/officeDocument/2006/relationships/tags" Target="../tags/tag56.xml"/></Relationships>
</file>

<file path=ppt/slides/_rels/slide37.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notesSlide" Target="../notesSlides/notesSlide32.xml"/><Relationship Id="rId7" Type="http://schemas.openxmlformats.org/officeDocument/2006/relationships/diagramColors" Target="../diagrams/colors18.xml"/><Relationship Id="rId2" Type="http://schemas.openxmlformats.org/officeDocument/2006/relationships/slideLayout" Target="../slideLayouts/slideLayout168.xml"/><Relationship Id="rId1" Type="http://schemas.openxmlformats.org/officeDocument/2006/relationships/tags" Target="../tags/tag58.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5.xml"/><Relationship Id="rId1" Type="http://schemas.openxmlformats.org/officeDocument/2006/relationships/tags" Target="../tags/tag60.xml"/><Relationship Id="rId5" Type="http://schemas.openxmlformats.org/officeDocument/2006/relationships/image" Target="../media/image17.png"/><Relationship Id="rId4" Type="http://schemas.openxmlformats.org/officeDocument/2006/relationships/image" Target="../media/image16.png"/></Relationships>
</file>

<file path=ppt/slides/_rels/slide39.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notesSlide" Target="../notesSlides/notesSlide34.xml"/><Relationship Id="rId7" Type="http://schemas.openxmlformats.org/officeDocument/2006/relationships/diagramColors" Target="../diagrams/colors19.xml"/><Relationship Id="rId2" Type="http://schemas.openxmlformats.org/officeDocument/2006/relationships/slideLayout" Target="../slideLayouts/slideLayout169.xml"/><Relationship Id="rId1" Type="http://schemas.openxmlformats.org/officeDocument/2006/relationships/tags" Target="../tags/tag61.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80.xml"/><Relationship Id="rId1" Type="http://schemas.openxmlformats.org/officeDocument/2006/relationships/tags" Target="../tags/tag63.xml"/><Relationship Id="rId4" Type="http://schemas.openxmlformats.org/officeDocument/2006/relationships/image" Target="../media/image14.jpe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80.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8.png"/><Relationship Id="rId4" Type="http://schemas.openxmlformats.org/officeDocument/2006/relationships/notesSlide" Target="../notesSlides/notesSlide3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5.jpeg"/><Relationship Id="rId4" Type="http://schemas.openxmlformats.org/officeDocument/2006/relationships/notesSlide" Target="../notesSlides/notesSlide37.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8.xml"/><Relationship Id="rId1" Type="http://schemas.openxmlformats.org/officeDocument/2006/relationships/slideLayout" Target="../slideLayouts/slideLayout174.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12.png"/><Relationship Id="rId2" Type="http://schemas.openxmlformats.org/officeDocument/2006/relationships/customXml" Target="../../customXml/item1.xml"/><Relationship Id="rId1" Type="http://schemas.openxmlformats.org/officeDocument/2006/relationships/tags" Target="../tags/tag17.xml"/><Relationship Id="rId6" Type="http://schemas.openxmlformats.org/officeDocument/2006/relationships/notesSlide" Target="../notesSlides/notesSlide2.xml"/><Relationship Id="rId5" Type="http://schemas.openxmlformats.org/officeDocument/2006/relationships/slideLayout" Target="../slideLayouts/slideLayout169.xml"/><Relationship Id="rId4" Type="http://schemas.openxmlformats.org/officeDocument/2006/relationships/tags" Target="../tags/tag1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4.xml"/><Relationship Id="rId1" Type="http://schemas.openxmlformats.org/officeDocument/2006/relationships/tags" Target="../tags/tag19.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6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5.xml"/><Relationship Id="rId7" Type="http://schemas.openxmlformats.org/officeDocument/2006/relationships/diagramColors" Target="../diagrams/colors2.xml"/><Relationship Id="rId2" Type="http://schemas.openxmlformats.org/officeDocument/2006/relationships/slideLayout" Target="../slideLayouts/slideLayout207.xml"/><Relationship Id="rId1" Type="http://schemas.openxmlformats.org/officeDocument/2006/relationships/tags" Target="../tags/tag2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1.xml"/><Relationship Id="rId1" Type="http://schemas.openxmlformats.org/officeDocument/2006/relationships/tags" Target="../tags/tag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a:xfrm>
            <a:off x="655637" y="2880360"/>
            <a:ext cx="4352925" cy="1097280"/>
          </a:xfrm>
        </p:spPr>
        <p:txBody>
          <a:bodyPr/>
          <a:lstStyle/>
          <a:p>
            <a:r>
              <a:rPr lang="en-US" dirty="0"/>
              <a:t>SQL Server Architecture, Scheduling, and Wait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a:xfrm>
            <a:off x="655637" y="4438015"/>
            <a:ext cx="4352924" cy="311150"/>
          </a:xfrm>
        </p:spPr>
        <p:txBody>
          <a:bodyPr>
            <a:normAutofit lnSpcReduction="10000"/>
          </a:bodyPr>
          <a:lstStyle/>
          <a:p>
            <a:r>
              <a:rPr lang="en-US" dirty="0"/>
              <a:t>Module 1</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8080" y="298625"/>
            <a:ext cx="11655840" cy="461665"/>
          </a:xfrm>
        </p:spPr>
        <p:txBody>
          <a:bodyPr/>
          <a:lstStyle/>
          <a:p>
            <a:r>
              <a:rPr lang="en-US" dirty="0"/>
              <a:t>Using Dynamic Management Objects (DMOs)</a:t>
            </a:r>
          </a:p>
        </p:txBody>
      </p:sp>
      <p:sp>
        <p:nvSpPr>
          <p:cNvPr id="6" name="Content Placeholder 1">
            <a:extLst>
              <a:ext uri="{FF2B5EF4-FFF2-40B4-BE49-F238E27FC236}">
                <a16:creationId xmlns:a16="http://schemas.microsoft.com/office/drawing/2014/main" id="{AA90E196-1455-41F9-8748-6BEEAEE2FAF1}"/>
              </a:ext>
            </a:extLst>
          </p:cNvPr>
          <p:cNvSpPr txBox="1">
            <a:spLocks/>
          </p:cNvSpPr>
          <p:nvPr/>
        </p:nvSpPr>
        <p:spPr>
          <a:xfrm>
            <a:off x="729301" y="965873"/>
            <a:ext cx="7959550" cy="5046170"/>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GB" sz="3137" kern="0" dirty="0">
                <a:solidFill>
                  <a:srgbClr val="000000"/>
                </a:solidFill>
              </a:rPr>
              <a:t>Must reference using the sys schema</a:t>
            </a:r>
          </a:p>
          <a:p>
            <a:pPr lvl="0"/>
            <a:r>
              <a:rPr lang="en-GB" sz="3137" kern="0" dirty="0">
                <a:solidFill>
                  <a:srgbClr val="000000"/>
                </a:solidFill>
              </a:rPr>
              <a:t>Two basic types:</a:t>
            </a:r>
          </a:p>
          <a:p>
            <a:pPr lvl="1"/>
            <a:r>
              <a:rPr lang="en-GB" sz="3137" kern="0" dirty="0">
                <a:solidFill>
                  <a:srgbClr val="000000"/>
                </a:solidFill>
              </a:rPr>
              <a:t>Real-time state information</a:t>
            </a:r>
          </a:p>
          <a:p>
            <a:pPr lvl="1"/>
            <a:r>
              <a:rPr lang="en-GB" sz="3137" kern="0" dirty="0">
                <a:solidFill>
                  <a:srgbClr val="000000"/>
                </a:solidFill>
              </a:rPr>
              <a:t>Historical information</a:t>
            </a:r>
          </a:p>
        </p:txBody>
      </p:sp>
      <p:pic>
        <p:nvPicPr>
          <p:cNvPr id="2" name="Picture 1">
            <a:extLst>
              <a:ext uri="{FF2B5EF4-FFF2-40B4-BE49-F238E27FC236}">
                <a16:creationId xmlns:a16="http://schemas.microsoft.com/office/drawing/2014/main" id="{2821DC8B-6624-4553-8E5D-1AB713DD58B3}"/>
              </a:ext>
            </a:extLst>
          </p:cNvPr>
          <p:cNvPicPr>
            <a:picLocks noChangeAspect="1"/>
          </p:cNvPicPr>
          <p:nvPr/>
        </p:nvPicPr>
        <p:blipFill>
          <a:blip r:embed="rId4"/>
          <a:stretch>
            <a:fillRect/>
          </a:stretch>
        </p:blipFill>
        <p:spPr>
          <a:xfrm>
            <a:off x="1448485" y="3580808"/>
            <a:ext cx="9438612" cy="2636818"/>
          </a:xfrm>
          <a:prstGeom prst="rect">
            <a:avLst/>
          </a:prstGeom>
        </p:spPr>
      </p:pic>
    </p:spTree>
    <p:custDataLst>
      <p:tags r:id="rId1"/>
    </p:custDataLst>
    <p:extLst>
      <p:ext uri="{BB962C8B-B14F-4D97-AF65-F5344CB8AC3E}">
        <p14:creationId xmlns:p14="http://schemas.microsoft.com/office/powerpoint/2010/main" val="3954748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Dynamic Management View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607693288"/>
              </p:ext>
            </p:extLst>
          </p:nvPr>
        </p:nvGraphicFramePr>
        <p:xfrm>
          <a:off x="655638" y="1408113"/>
          <a:ext cx="10880725" cy="22271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Task Scheduling</a:t>
            </a:r>
          </a:p>
        </p:txBody>
      </p:sp>
    </p:spTree>
    <p:extLst>
      <p:ext uri="{BB962C8B-B14F-4D97-AF65-F5344CB8AC3E}">
        <p14:creationId xmlns:p14="http://schemas.microsoft.com/office/powerpoint/2010/main" val="289400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SQL Server task scheduling.</a:t>
            </a:r>
          </a:p>
          <a:p>
            <a:endParaRPr lang="en-US"/>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C134E13-E15B-4D97-80E7-EE03878EB658}"/>
              </a:ext>
            </a:extLst>
          </p:cNvPr>
          <p:cNvGraphicFramePr/>
          <p:nvPr>
            <p:extLst>
              <p:ext uri="{D42A27DB-BD31-4B8C-83A1-F6EECF244321}">
                <p14:modId xmlns:p14="http://schemas.microsoft.com/office/powerpoint/2010/main" val="2970829674"/>
              </p:ext>
            </p:extLst>
          </p:nvPr>
        </p:nvGraphicFramePr>
        <p:xfrm>
          <a:off x="658369" y="1189495"/>
          <a:ext cx="11381232" cy="49837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itle 3"/>
          <p:cNvSpPr>
            <a:spLocks noGrp="1"/>
          </p:cNvSpPr>
          <p:nvPr>
            <p:ph type="title"/>
          </p:nvPr>
        </p:nvSpPr>
        <p:spPr>
          <a:xfrm>
            <a:off x="655637" y="375306"/>
            <a:ext cx="10880725" cy="461665"/>
          </a:xfrm>
        </p:spPr>
        <p:txBody>
          <a:bodyPr/>
          <a:lstStyle/>
          <a:p>
            <a:r>
              <a:rPr lang="en-US" dirty="0"/>
              <a:t>Microsoft SQL Server Scheduling Terminology</a:t>
            </a:r>
          </a:p>
        </p:txBody>
      </p:sp>
    </p:spTree>
    <p:custDataLst>
      <p:tags r:id="rId1"/>
    </p:custDataLst>
    <p:extLst>
      <p:ext uri="{BB962C8B-B14F-4D97-AF65-F5344CB8AC3E}">
        <p14:creationId xmlns:p14="http://schemas.microsoft.com/office/powerpoint/2010/main" val="25549299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9289" y="171839"/>
            <a:ext cx="10880725" cy="461665"/>
          </a:xfrm>
        </p:spPr>
        <p:txBody>
          <a:bodyPr/>
          <a:lstStyle/>
          <a:p>
            <a:r>
              <a:rPr lang="en-US"/>
              <a:t>Hierarchy of Common Terms</a:t>
            </a:r>
          </a:p>
        </p:txBody>
      </p:sp>
      <p:sp>
        <p:nvSpPr>
          <p:cNvPr id="2" name="Rectangle 1">
            <a:extLst>
              <a:ext uri="{FF2B5EF4-FFF2-40B4-BE49-F238E27FC236}">
                <a16:creationId xmlns:a16="http://schemas.microsoft.com/office/drawing/2014/main" id="{508925ED-9510-43E8-8015-233243BBA421}"/>
              </a:ext>
            </a:extLst>
          </p:cNvPr>
          <p:cNvSpPr/>
          <p:nvPr/>
        </p:nvSpPr>
        <p:spPr>
          <a:xfrm>
            <a:off x="2476918" y="1103992"/>
            <a:ext cx="6357116" cy="2958122"/>
          </a:xfrm>
          <a:prstGeom prst="rect">
            <a:avLst/>
          </a:prstGeom>
          <a:ln>
            <a:solidFill>
              <a:schemeClr val="accent1"/>
            </a:solidFill>
          </a:ln>
          <a:effectLst/>
        </p:spPr>
        <p:txBody>
          <a:bodyPr wrap="square">
            <a:noAutofit/>
          </a:bodyPr>
          <a:lstStyle/>
          <a:p>
            <a:r>
              <a:rPr lang="en-US">
                <a:solidFill>
                  <a:srgbClr val="0000FF"/>
                </a:solidFill>
                <a:latin typeface="Lucida Console" panose="020B0609040504020204" pitchFamily="49" charset="0"/>
              </a:rPr>
              <a:t>SELECT</a:t>
            </a:r>
            <a:r>
              <a:rPr lang="en-US">
                <a:solidFill>
                  <a:srgbClr val="000000"/>
                </a:solidFill>
                <a:latin typeface="Lucida Console" panose="020B0609040504020204" pitchFamily="49" charset="0"/>
              </a:rPr>
              <a:t> *</a:t>
            </a:r>
          </a:p>
          <a:p>
            <a:r>
              <a:rPr lang="en-US">
                <a:solidFill>
                  <a:srgbClr val="0000FF"/>
                </a:solidFill>
                <a:latin typeface="Lucida Console" panose="020B0609040504020204" pitchFamily="49" charset="0"/>
              </a:rPr>
              <a:t>FROM</a:t>
            </a:r>
            <a:r>
              <a:rPr lang="en-US">
                <a:solidFill>
                  <a:srgbClr val="000000"/>
                </a:solidFill>
                <a:latin typeface="Lucida Console" panose="020B0609040504020204" pitchFamily="49" charset="0"/>
              </a:rPr>
              <a:t> </a:t>
            </a:r>
            <a:r>
              <a:rPr lang="en-US" err="1">
                <a:solidFill>
                  <a:srgbClr val="107C10"/>
                </a:solidFill>
                <a:latin typeface="Lucida Console" panose="020B0609040504020204" pitchFamily="49" charset="0"/>
              </a:rPr>
              <a:t>sys.dm_exec_connections</a:t>
            </a:r>
            <a:r>
              <a:rPr lang="en-US">
                <a:solidFill>
                  <a:srgbClr val="808080"/>
                </a:solidFill>
                <a:latin typeface="Lucida Console" panose="020B0609040504020204" pitchFamily="49" charset="0"/>
              </a:rPr>
              <a:t>;</a:t>
            </a:r>
          </a:p>
          <a:p>
            <a:r>
              <a:rPr lang="en-US">
                <a:solidFill>
                  <a:srgbClr val="107C10"/>
                </a:solidFill>
              </a:rPr>
              <a:t>-- relevant data: </a:t>
            </a:r>
          </a:p>
          <a:p>
            <a:r>
              <a:rPr lang="en-US">
                <a:solidFill>
                  <a:srgbClr val="107C10"/>
                </a:solidFill>
              </a:rPr>
              <a:t>-- </a:t>
            </a:r>
            <a:r>
              <a:rPr lang="en-US" err="1">
                <a:solidFill>
                  <a:srgbClr val="107C10"/>
                </a:solidFill>
              </a:rPr>
              <a:t>session_id</a:t>
            </a:r>
            <a:r>
              <a:rPr lang="en-US">
                <a:solidFill>
                  <a:srgbClr val="107C10"/>
                </a:solidFill>
              </a:rPr>
              <a:t> --&gt; </a:t>
            </a:r>
            <a:r>
              <a:rPr lang="en-US" err="1">
                <a:solidFill>
                  <a:srgbClr val="107C10"/>
                </a:solidFill>
              </a:rPr>
              <a:t>spid</a:t>
            </a:r>
            <a:endParaRPr lang="en-US">
              <a:solidFill>
                <a:srgbClr val="107C10"/>
              </a:solidFill>
            </a:endParaRPr>
          </a:p>
          <a:p>
            <a:r>
              <a:rPr lang="en-US">
                <a:solidFill>
                  <a:srgbClr val="107C10"/>
                </a:solidFill>
              </a:rPr>
              <a:t>-- </a:t>
            </a:r>
            <a:r>
              <a:rPr lang="en-US" err="1">
                <a:solidFill>
                  <a:srgbClr val="107C10"/>
                </a:solidFill>
              </a:rPr>
              <a:t>most_recent_sql_handle</a:t>
            </a:r>
            <a:r>
              <a:rPr lang="en-US">
                <a:solidFill>
                  <a:srgbClr val="107C10"/>
                </a:solidFill>
              </a:rPr>
              <a:t> --&gt; last query</a:t>
            </a:r>
          </a:p>
          <a:p>
            <a:r>
              <a:rPr lang="en-US">
                <a:solidFill>
                  <a:srgbClr val="107C10"/>
                </a:solidFill>
              </a:rPr>
              <a:t>-- </a:t>
            </a:r>
            <a:r>
              <a:rPr lang="en-US" err="1">
                <a:solidFill>
                  <a:srgbClr val="107C10"/>
                </a:solidFill>
              </a:rPr>
              <a:t>net_transport</a:t>
            </a:r>
            <a:r>
              <a:rPr lang="en-US">
                <a:solidFill>
                  <a:srgbClr val="107C10"/>
                </a:solidFill>
              </a:rPr>
              <a:t>, </a:t>
            </a:r>
            <a:r>
              <a:rPr lang="en-US" err="1">
                <a:solidFill>
                  <a:srgbClr val="107C10"/>
                </a:solidFill>
              </a:rPr>
              <a:t>protocol_type</a:t>
            </a:r>
            <a:r>
              <a:rPr lang="en-US">
                <a:solidFill>
                  <a:srgbClr val="107C10"/>
                </a:solidFill>
              </a:rPr>
              <a:t> --&gt; connectivity</a:t>
            </a:r>
          </a:p>
          <a:p>
            <a:endParaRPr lang="en-US" sz="1800">
              <a:solidFill>
                <a:srgbClr val="107C10"/>
              </a:solidFill>
              <a:latin typeface="Lucida Console" panose="020B0609040504020204" pitchFamily="49" charset="0"/>
            </a:endParaRPr>
          </a:p>
        </p:txBody>
      </p:sp>
      <p:graphicFrame>
        <p:nvGraphicFramePr>
          <p:cNvPr id="6" name="Diagram 5">
            <a:extLst>
              <a:ext uri="{FF2B5EF4-FFF2-40B4-BE49-F238E27FC236}">
                <a16:creationId xmlns:a16="http://schemas.microsoft.com/office/drawing/2014/main" id="{CDEE6DD0-2893-D2EA-E457-ED85AD6E65E6}"/>
              </a:ext>
            </a:extLst>
          </p:cNvPr>
          <p:cNvGraphicFramePr/>
          <p:nvPr>
            <p:extLst>
              <p:ext uri="{D42A27DB-BD31-4B8C-83A1-F6EECF244321}">
                <p14:modId xmlns:p14="http://schemas.microsoft.com/office/powerpoint/2010/main" val="1057904417"/>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5581095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9289" y="171839"/>
            <a:ext cx="10880725" cy="461665"/>
          </a:xfrm>
        </p:spPr>
        <p:txBody>
          <a:bodyPr/>
          <a:lstStyle/>
          <a:p>
            <a:r>
              <a:rPr lang="en-US"/>
              <a:t>Hierarchy of Common Terms</a:t>
            </a:r>
          </a:p>
        </p:txBody>
      </p:sp>
      <p:sp>
        <p:nvSpPr>
          <p:cNvPr id="7" name="Rectangle 6">
            <a:extLst>
              <a:ext uri="{FF2B5EF4-FFF2-40B4-BE49-F238E27FC236}">
                <a16:creationId xmlns:a16="http://schemas.microsoft.com/office/drawing/2014/main" id="{B01DFF02-1A95-47D1-9701-35BE6F2E8ABA}"/>
              </a:ext>
            </a:extLst>
          </p:cNvPr>
          <p:cNvSpPr/>
          <p:nvPr/>
        </p:nvSpPr>
        <p:spPr>
          <a:xfrm>
            <a:off x="2492416" y="1130117"/>
            <a:ext cx="6412548" cy="2931997"/>
          </a:xfrm>
          <a:prstGeom prst="rect">
            <a:avLst/>
          </a:prstGeom>
          <a:ln>
            <a:solidFill>
              <a:schemeClr val="accent1"/>
            </a:solidFill>
          </a:ln>
          <a:effectLst/>
        </p:spPr>
        <p:txBody>
          <a:bodyPr wrap="square">
            <a:noAutofit/>
          </a:bodyPr>
          <a:lstStyle/>
          <a:p>
            <a:r>
              <a:rPr lang="en-US">
                <a:solidFill>
                  <a:srgbClr val="0000FF"/>
                </a:solidFill>
                <a:latin typeface="Lucida Console" panose="020B0609040504020204" pitchFamily="49" charset="0"/>
              </a:rPr>
              <a:t>SELECT</a:t>
            </a:r>
            <a:r>
              <a:rPr lang="en-US">
                <a:solidFill>
                  <a:srgbClr val="000000"/>
                </a:solidFill>
                <a:latin typeface="Lucida Console" panose="020B0609040504020204" pitchFamily="49" charset="0"/>
              </a:rPr>
              <a:t> *</a:t>
            </a:r>
          </a:p>
          <a:p>
            <a:r>
              <a:rPr lang="en-US">
                <a:solidFill>
                  <a:srgbClr val="0000FF"/>
                </a:solidFill>
                <a:latin typeface="Lucida Console" panose="020B0609040504020204" pitchFamily="49" charset="0"/>
              </a:rPr>
              <a:t>FROM</a:t>
            </a:r>
            <a:r>
              <a:rPr lang="en-US">
                <a:solidFill>
                  <a:srgbClr val="000000"/>
                </a:solidFill>
                <a:latin typeface="Lucida Console" panose="020B0609040504020204" pitchFamily="49" charset="0"/>
              </a:rPr>
              <a:t> </a:t>
            </a:r>
            <a:r>
              <a:rPr lang="en-US" err="1">
                <a:solidFill>
                  <a:srgbClr val="107C10"/>
                </a:solidFill>
                <a:latin typeface="Lucida Console" panose="020B0609040504020204" pitchFamily="49" charset="0"/>
              </a:rPr>
              <a:t>sys.dm_exec_sessions</a:t>
            </a:r>
            <a:r>
              <a:rPr lang="en-US">
                <a:solidFill>
                  <a:srgbClr val="808080"/>
                </a:solidFill>
                <a:latin typeface="Lucida Console" panose="020B0609040504020204" pitchFamily="49" charset="0"/>
              </a:rPr>
              <a:t>;</a:t>
            </a:r>
          </a:p>
          <a:p>
            <a:r>
              <a:rPr lang="en-US">
                <a:solidFill>
                  <a:srgbClr val="107C10"/>
                </a:solidFill>
              </a:rPr>
              <a:t>-- relevant data: </a:t>
            </a:r>
          </a:p>
          <a:p>
            <a:r>
              <a:rPr lang="en-US">
                <a:solidFill>
                  <a:srgbClr val="107C10"/>
                </a:solidFill>
              </a:rPr>
              <a:t>-- </a:t>
            </a:r>
            <a:r>
              <a:rPr lang="en-US" err="1">
                <a:solidFill>
                  <a:srgbClr val="107C10"/>
                </a:solidFill>
              </a:rPr>
              <a:t>session_id</a:t>
            </a:r>
            <a:r>
              <a:rPr lang="en-US">
                <a:solidFill>
                  <a:srgbClr val="107C10"/>
                </a:solidFill>
              </a:rPr>
              <a:t> --&gt; </a:t>
            </a:r>
            <a:r>
              <a:rPr lang="en-US" err="1">
                <a:solidFill>
                  <a:srgbClr val="107C10"/>
                </a:solidFill>
              </a:rPr>
              <a:t>spid</a:t>
            </a:r>
            <a:endParaRPr lang="en-US">
              <a:solidFill>
                <a:srgbClr val="107C10"/>
              </a:solidFill>
            </a:endParaRPr>
          </a:p>
          <a:p>
            <a:r>
              <a:rPr lang="en-US">
                <a:solidFill>
                  <a:srgbClr val="107C10"/>
                </a:solidFill>
              </a:rPr>
              <a:t>-- </a:t>
            </a:r>
            <a:r>
              <a:rPr lang="en-US" err="1">
                <a:solidFill>
                  <a:srgbClr val="107C10"/>
                </a:solidFill>
              </a:rPr>
              <a:t>host_name</a:t>
            </a:r>
            <a:r>
              <a:rPr lang="en-US">
                <a:solidFill>
                  <a:srgbClr val="107C10"/>
                </a:solidFill>
              </a:rPr>
              <a:t>, </a:t>
            </a:r>
            <a:r>
              <a:rPr lang="en-US" err="1">
                <a:solidFill>
                  <a:srgbClr val="107C10"/>
                </a:solidFill>
              </a:rPr>
              <a:t>program_name</a:t>
            </a:r>
            <a:r>
              <a:rPr lang="en-US">
                <a:solidFill>
                  <a:srgbClr val="107C10"/>
                </a:solidFill>
              </a:rPr>
              <a:t> --&gt; client identity </a:t>
            </a:r>
          </a:p>
          <a:p>
            <a:r>
              <a:rPr lang="en-US">
                <a:solidFill>
                  <a:srgbClr val="107C10"/>
                </a:solidFill>
              </a:rPr>
              <a:t>-- </a:t>
            </a:r>
            <a:r>
              <a:rPr lang="en-US" err="1">
                <a:solidFill>
                  <a:srgbClr val="107C10"/>
                </a:solidFill>
              </a:rPr>
              <a:t>login_name</a:t>
            </a:r>
            <a:r>
              <a:rPr lang="en-US">
                <a:solidFill>
                  <a:srgbClr val="107C10"/>
                </a:solidFill>
              </a:rPr>
              <a:t>, </a:t>
            </a:r>
            <a:r>
              <a:rPr lang="en-US" err="1">
                <a:solidFill>
                  <a:srgbClr val="107C10"/>
                </a:solidFill>
              </a:rPr>
              <a:t>nt_user_name</a:t>
            </a:r>
            <a:r>
              <a:rPr lang="en-US">
                <a:solidFill>
                  <a:srgbClr val="107C10"/>
                </a:solidFill>
              </a:rPr>
              <a:t> --&gt; login identity</a:t>
            </a:r>
          </a:p>
          <a:p>
            <a:r>
              <a:rPr lang="en-US">
                <a:solidFill>
                  <a:srgbClr val="107C10"/>
                </a:solidFill>
              </a:rPr>
              <a:t>-- status --&gt; activity</a:t>
            </a:r>
          </a:p>
          <a:p>
            <a:r>
              <a:rPr lang="en-US">
                <a:solidFill>
                  <a:srgbClr val="107C10"/>
                </a:solidFill>
              </a:rPr>
              <a:t>-- </a:t>
            </a:r>
            <a:r>
              <a:rPr lang="en-US" err="1">
                <a:solidFill>
                  <a:srgbClr val="107C10"/>
                </a:solidFill>
              </a:rPr>
              <a:t>database_id</a:t>
            </a:r>
            <a:r>
              <a:rPr lang="en-US">
                <a:solidFill>
                  <a:srgbClr val="107C10"/>
                </a:solidFill>
              </a:rPr>
              <a:t> --&gt; database being accessed</a:t>
            </a:r>
          </a:p>
          <a:p>
            <a:r>
              <a:rPr lang="en-US">
                <a:solidFill>
                  <a:srgbClr val="107C10"/>
                </a:solidFill>
              </a:rPr>
              <a:t>-- </a:t>
            </a:r>
            <a:r>
              <a:rPr lang="en-US" err="1">
                <a:solidFill>
                  <a:srgbClr val="107C10"/>
                </a:solidFill>
              </a:rPr>
              <a:t>open_transaction_count</a:t>
            </a:r>
            <a:r>
              <a:rPr lang="en-US">
                <a:solidFill>
                  <a:srgbClr val="107C10"/>
                </a:solidFill>
              </a:rPr>
              <a:t> --&gt; blocking identification</a:t>
            </a:r>
          </a:p>
          <a:p>
            <a:endParaRPr lang="en-US" sz="1800">
              <a:solidFill>
                <a:srgbClr val="107C10"/>
              </a:solidFill>
              <a:latin typeface="Lucida Console" panose="020B0609040504020204" pitchFamily="49" charset="0"/>
            </a:endParaRPr>
          </a:p>
        </p:txBody>
      </p:sp>
      <p:graphicFrame>
        <p:nvGraphicFramePr>
          <p:cNvPr id="5" name="Diagram 4">
            <a:extLst>
              <a:ext uri="{FF2B5EF4-FFF2-40B4-BE49-F238E27FC236}">
                <a16:creationId xmlns:a16="http://schemas.microsoft.com/office/drawing/2014/main" id="{5E794276-0C7F-7754-EBC4-FE1687F10AC3}"/>
              </a:ext>
            </a:extLst>
          </p:cNvPr>
          <p:cNvGraphicFramePr/>
          <p:nvPr>
            <p:extLst>
              <p:ext uri="{D42A27DB-BD31-4B8C-83A1-F6EECF244321}">
                <p14:modId xmlns:p14="http://schemas.microsoft.com/office/powerpoint/2010/main" val="2282781605"/>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378495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79E5A1-77C8-4B74-B747-647B47141F0C}"/>
              </a:ext>
            </a:extLst>
          </p:cNvPr>
          <p:cNvSpPr/>
          <p:nvPr/>
        </p:nvSpPr>
        <p:spPr>
          <a:xfrm>
            <a:off x="2476918" y="1104853"/>
            <a:ext cx="6436360" cy="2931997"/>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a:solidFill>
                  <a:srgbClr val="107C10"/>
                </a:solidFill>
                <a:latin typeface="Lucida Console" panose="020B0609040504020204" pitchFamily="49" charset="0"/>
              </a:rPr>
              <a:t>sys.dm_exec_request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session_id</a:t>
            </a:r>
            <a:r>
              <a:rPr lang="en-US" dirty="0">
                <a:solidFill>
                  <a:srgbClr val="107C10"/>
                </a:solidFill>
              </a:rPr>
              <a:t> --&gt; </a:t>
            </a:r>
            <a:r>
              <a:rPr lang="en-US" dirty="0" err="1">
                <a:solidFill>
                  <a:srgbClr val="107C10"/>
                </a:solidFill>
              </a:rPr>
              <a:t>spid</a:t>
            </a:r>
            <a:endParaRPr lang="en-US" dirty="0">
              <a:solidFill>
                <a:srgbClr val="107C10"/>
              </a:solidFill>
            </a:endParaRPr>
          </a:p>
          <a:p>
            <a:r>
              <a:rPr lang="en-US" dirty="0">
                <a:solidFill>
                  <a:srgbClr val="107C10"/>
                </a:solidFill>
              </a:rPr>
              <a:t>-- status --&gt; background, running, runnable, suspended</a:t>
            </a:r>
          </a:p>
          <a:p>
            <a:r>
              <a:rPr lang="en-US" dirty="0">
                <a:solidFill>
                  <a:srgbClr val="107C10"/>
                </a:solidFill>
              </a:rPr>
              <a:t>-- </a:t>
            </a:r>
            <a:r>
              <a:rPr lang="en-US" dirty="0" err="1">
                <a:solidFill>
                  <a:srgbClr val="107C10"/>
                </a:solidFill>
              </a:rPr>
              <a:t>sql_handle</a:t>
            </a:r>
            <a:r>
              <a:rPr lang="en-US" dirty="0">
                <a:solidFill>
                  <a:srgbClr val="107C10"/>
                </a:solidFill>
              </a:rPr>
              <a:t>, offset </a:t>
            </a:r>
            <a:r>
              <a:rPr lang="en-US" dirty="0">
                <a:solidFill>
                  <a:srgbClr val="107C10"/>
                </a:solidFill>
                <a:sym typeface="Wingdings" panose="05000000000000000000" pitchFamily="2" charset="2"/>
              </a:rPr>
              <a:t>--&gt; query text</a:t>
            </a:r>
          </a:p>
          <a:p>
            <a:r>
              <a:rPr lang="en-US" dirty="0">
                <a:solidFill>
                  <a:srgbClr val="107C10"/>
                </a:solidFill>
              </a:rPr>
              <a:t>-- </a:t>
            </a:r>
            <a:r>
              <a:rPr lang="en-US" dirty="0" err="1">
                <a:solidFill>
                  <a:srgbClr val="107C10"/>
                </a:solidFill>
              </a:rPr>
              <a:t>database_id</a:t>
            </a:r>
            <a:r>
              <a:rPr lang="en-US" dirty="0">
                <a:solidFill>
                  <a:srgbClr val="107C10"/>
                </a:solidFill>
              </a:rPr>
              <a:t> --&gt; database being accessed</a:t>
            </a:r>
          </a:p>
          <a:p>
            <a:r>
              <a:rPr lang="en-US" dirty="0">
                <a:solidFill>
                  <a:srgbClr val="107C10"/>
                </a:solidFill>
              </a:rPr>
              <a:t>-- </a:t>
            </a:r>
            <a:r>
              <a:rPr lang="en-US" dirty="0" err="1">
                <a:solidFill>
                  <a:srgbClr val="107C10"/>
                </a:solidFill>
              </a:rPr>
              <a:t>wait_type</a:t>
            </a:r>
            <a:r>
              <a:rPr lang="en-US" dirty="0">
                <a:solidFill>
                  <a:srgbClr val="107C10"/>
                </a:solidFill>
              </a:rPr>
              <a:t>, </a:t>
            </a:r>
            <a:r>
              <a:rPr lang="en-US" dirty="0" err="1">
                <a:solidFill>
                  <a:srgbClr val="107C10"/>
                </a:solidFill>
              </a:rPr>
              <a:t>wait_time</a:t>
            </a:r>
            <a:r>
              <a:rPr lang="en-US" dirty="0">
                <a:solidFill>
                  <a:srgbClr val="107C10"/>
                </a:solidFill>
              </a:rPr>
              <a:t> --&gt; blocking information</a:t>
            </a:r>
          </a:p>
          <a:p>
            <a:r>
              <a:rPr lang="en-US" dirty="0">
                <a:solidFill>
                  <a:srgbClr val="107C10"/>
                </a:solidFill>
              </a:rPr>
              <a:t>-- </a:t>
            </a:r>
            <a:r>
              <a:rPr lang="en-US" dirty="0" err="1">
                <a:solidFill>
                  <a:srgbClr val="107C10"/>
                </a:solidFill>
              </a:rPr>
              <a:t>open_transaction_count</a:t>
            </a:r>
            <a:r>
              <a:rPr lang="en-US" dirty="0">
                <a:solidFill>
                  <a:srgbClr val="107C10"/>
                </a:solidFill>
              </a:rPr>
              <a:t> --&gt; blocking others</a:t>
            </a:r>
          </a:p>
          <a:p>
            <a:r>
              <a:rPr lang="en-US" dirty="0">
                <a:solidFill>
                  <a:srgbClr val="107C10"/>
                </a:solidFill>
              </a:rPr>
              <a:t>-- </a:t>
            </a:r>
            <a:r>
              <a:rPr lang="en-US" dirty="0" err="1">
                <a:solidFill>
                  <a:srgbClr val="107C10"/>
                </a:solidFill>
              </a:rPr>
              <a:t>cpu_time</a:t>
            </a:r>
            <a:r>
              <a:rPr lang="en-US" dirty="0">
                <a:solidFill>
                  <a:srgbClr val="107C10"/>
                </a:solidFill>
              </a:rPr>
              <a:t>, </a:t>
            </a:r>
            <a:r>
              <a:rPr lang="en-US" dirty="0" err="1">
                <a:solidFill>
                  <a:srgbClr val="107C10"/>
                </a:solidFill>
              </a:rPr>
              <a:t>total_elapsed_time</a:t>
            </a:r>
            <a:r>
              <a:rPr lang="en-US" dirty="0">
                <a:solidFill>
                  <a:srgbClr val="107C10"/>
                </a:solidFill>
              </a:rPr>
              <a:t>, reads, writes --&gt; telemetry</a:t>
            </a:r>
          </a:p>
          <a:p>
            <a:endParaRPr lang="en-US" sz="1800" dirty="0">
              <a:solidFill>
                <a:srgbClr val="107C10"/>
              </a:solidFill>
              <a:latin typeface="Lucida Console" panose="020B0609040504020204" pitchFamily="49" charset="0"/>
            </a:endParaRPr>
          </a:p>
        </p:txBody>
      </p:sp>
      <p:sp>
        <p:nvSpPr>
          <p:cNvPr id="3" name="Title 2"/>
          <p:cNvSpPr>
            <a:spLocks noGrp="1"/>
          </p:cNvSpPr>
          <p:nvPr>
            <p:ph type="title"/>
          </p:nvPr>
        </p:nvSpPr>
        <p:spPr>
          <a:xfrm>
            <a:off x="449289" y="171839"/>
            <a:ext cx="10880725" cy="461665"/>
          </a:xfrm>
        </p:spPr>
        <p:txBody>
          <a:bodyPr/>
          <a:lstStyle/>
          <a:p>
            <a:r>
              <a:rPr lang="en-US"/>
              <a:t>Hierarchy of Common Terms</a:t>
            </a:r>
          </a:p>
        </p:txBody>
      </p:sp>
      <p:graphicFrame>
        <p:nvGraphicFramePr>
          <p:cNvPr id="6" name="Diagram 5">
            <a:extLst>
              <a:ext uri="{FF2B5EF4-FFF2-40B4-BE49-F238E27FC236}">
                <a16:creationId xmlns:a16="http://schemas.microsoft.com/office/drawing/2014/main" id="{3206AAC0-61C9-EB24-8BD9-44D48AAC6573}"/>
              </a:ext>
            </a:extLst>
          </p:cNvPr>
          <p:cNvGraphicFramePr/>
          <p:nvPr>
            <p:extLst>
              <p:ext uri="{D42A27DB-BD31-4B8C-83A1-F6EECF244321}">
                <p14:modId xmlns:p14="http://schemas.microsoft.com/office/powerpoint/2010/main" val="94294453"/>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0827812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9289" y="171839"/>
            <a:ext cx="10880725" cy="461665"/>
          </a:xfrm>
        </p:spPr>
        <p:txBody>
          <a:bodyPr/>
          <a:lstStyle/>
          <a:p>
            <a:r>
              <a:rPr lang="en-US"/>
              <a:t>Hierarchy of Common Terms</a:t>
            </a:r>
          </a:p>
        </p:txBody>
      </p:sp>
      <p:sp>
        <p:nvSpPr>
          <p:cNvPr id="9" name="Rectangle 8">
            <a:extLst>
              <a:ext uri="{FF2B5EF4-FFF2-40B4-BE49-F238E27FC236}">
                <a16:creationId xmlns:a16="http://schemas.microsoft.com/office/drawing/2014/main" id="{C69E21C2-4C59-414D-956B-6534ED10607A}"/>
              </a:ext>
            </a:extLst>
          </p:cNvPr>
          <p:cNvSpPr/>
          <p:nvPr/>
        </p:nvSpPr>
        <p:spPr>
          <a:xfrm>
            <a:off x="2519821" y="1109260"/>
            <a:ext cx="6436360" cy="2952854"/>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a:solidFill>
                  <a:srgbClr val="107C10"/>
                </a:solidFill>
                <a:latin typeface="Lucida Console" panose="020B0609040504020204" pitchFamily="49" charset="0"/>
              </a:rPr>
              <a:t>sys.dm_os_task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task_state</a:t>
            </a:r>
            <a:r>
              <a:rPr lang="en-US" dirty="0">
                <a:solidFill>
                  <a:srgbClr val="107C10"/>
                </a:solidFill>
              </a:rPr>
              <a:t> --&gt; running, suspended</a:t>
            </a:r>
          </a:p>
          <a:p>
            <a:r>
              <a:rPr lang="en-US" dirty="0">
                <a:solidFill>
                  <a:srgbClr val="107C10"/>
                </a:solidFill>
              </a:rPr>
              <a:t>-- </a:t>
            </a:r>
            <a:r>
              <a:rPr lang="en-US" dirty="0" err="1">
                <a:solidFill>
                  <a:srgbClr val="107C10"/>
                </a:solidFill>
              </a:rPr>
              <a:t>pending_io</a:t>
            </a:r>
            <a:r>
              <a:rPr lang="en-US" dirty="0">
                <a:solidFill>
                  <a:srgbClr val="107C10"/>
                </a:solidFill>
              </a:rPr>
              <a:t>_* --&gt; I/O activity</a:t>
            </a:r>
            <a:endParaRPr lang="en-US" dirty="0">
              <a:solidFill>
                <a:srgbClr val="107C10"/>
              </a:solidFill>
              <a:sym typeface="Wingdings" panose="05000000000000000000" pitchFamily="2" charset="2"/>
            </a:endParaRPr>
          </a:p>
          <a:p>
            <a:r>
              <a:rPr lang="en-US" dirty="0">
                <a:solidFill>
                  <a:srgbClr val="107C10"/>
                </a:solidFill>
              </a:rPr>
              <a:t>-- </a:t>
            </a:r>
            <a:r>
              <a:rPr lang="en-US" dirty="0" err="1">
                <a:solidFill>
                  <a:srgbClr val="107C10"/>
                </a:solidFill>
              </a:rPr>
              <a:t>scheduler_id</a:t>
            </a:r>
            <a:r>
              <a:rPr lang="en-US" dirty="0">
                <a:solidFill>
                  <a:srgbClr val="107C10"/>
                </a:solidFill>
              </a:rPr>
              <a:t> --&gt;processor info</a:t>
            </a:r>
          </a:p>
          <a:p>
            <a:r>
              <a:rPr lang="en-US" dirty="0">
                <a:solidFill>
                  <a:srgbClr val="107C10"/>
                </a:solidFill>
              </a:rPr>
              <a:t>-- </a:t>
            </a:r>
            <a:r>
              <a:rPr lang="en-US" dirty="0" err="1">
                <a:solidFill>
                  <a:srgbClr val="107C10"/>
                </a:solidFill>
              </a:rPr>
              <a:t>session_id</a:t>
            </a:r>
            <a:r>
              <a:rPr lang="en-US" dirty="0">
                <a:solidFill>
                  <a:srgbClr val="107C10"/>
                </a:solidFill>
              </a:rPr>
              <a:t> --&gt; </a:t>
            </a:r>
            <a:r>
              <a:rPr lang="en-US" dirty="0" err="1">
                <a:solidFill>
                  <a:srgbClr val="107C10"/>
                </a:solidFill>
              </a:rPr>
              <a:t>spid</a:t>
            </a:r>
            <a:endParaRPr lang="en-US" dirty="0">
              <a:solidFill>
                <a:srgbClr val="107C10"/>
              </a:solidFill>
            </a:endParaRPr>
          </a:p>
        </p:txBody>
      </p:sp>
      <p:graphicFrame>
        <p:nvGraphicFramePr>
          <p:cNvPr id="6" name="Diagram 5">
            <a:extLst>
              <a:ext uri="{FF2B5EF4-FFF2-40B4-BE49-F238E27FC236}">
                <a16:creationId xmlns:a16="http://schemas.microsoft.com/office/drawing/2014/main" id="{393EF064-0C73-9893-A095-84C89D906D18}"/>
              </a:ext>
            </a:extLst>
          </p:cNvPr>
          <p:cNvGraphicFramePr/>
          <p:nvPr>
            <p:extLst>
              <p:ext uri="{D42A27DB-BD31-4B8C-83A1-F6EECF244321}">
                <p14:modId xmlns:p14="http://schemas.microsoft.com/office/powerpoint/2010/main" val="3830492696"/>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50201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BDF6ED2-2E40-4A32-A40F-418ED1BFC8F7}"/>
              </a:ext>
            </a:extLst>
          </p:cNvPr>
          <p:cNvSpPr/>
          <p:nvPr/>
        </p:nvSpPr>
        <p:spPr>
          <a:xfrm>
            <a:off x="2430423" y="1130978"/>
            <a:ext cx="6436360" cy="2931136"/>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err="1">
                <a:solidFill>
                  <a:srgbClr val="107C10"/>
                </a:solidFill>
                <a:latin typeface="Lucida Console" panose="020B0609040504020204" pitchFamily="49" charset="0"/>
              </a:rPr>
              <a:t>sys.dm_os_worker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worker_address</a:t>
            </a:r>
            <a:r>
              <a:rPr lang="en-US" dirty="0">
                <a:solidFill>
                  <a:srgbClr val="107C10"/>
                </a:solidFill>
              </a:rPr>
              <a:t> --&gt; memory address of the worker</a:t>
            </a:r>
          </a:p>
          <a:p>
            <a:r>
              <a:rPr lang="en-US" dirty="0">
                <a:solidFill>
                  <a:srgbClr val="107C10"/>
                </a:solidFill>
              </a:rPr>
              <a:t>-- </a:t>
            </a:r>
            <a:r>
              <a:rPr lang="en-US" dirty="0" err="1">
                <a:solidFill>
                  <a:srgbClr val="107C10"/>
                </a:solidFill>
              </a:rPr>
              <a:t>wait_start_ms_ticks</a:t>
            </a:r>
            <a:r>
              <a:rPr lang="en-US" dirty="0">
                <a:solidFill>
                  <a:srgbClr val="107C10"/>
                </a:solidFill>
              </a:rPr>
              <a:t> --&gt; Point in time worker Suspended.</a:t>
            </a:r>
          </a:p>
          <a:p>
            <a:r>
              <a:rPr lang="en-US" dirty="0">
                <a:solidFill>
                  <a:srgbClr val="107C10"/>
                </a:solidFill>
              </a:rPr>
              <a:t>-- </a:t>
            </a:r>
            <a:r>
              <a:rPr lang="en-US" dirty="0" err="1">
                <a:solidFill>
                  <a:srgbClr val="107C10"/>
                </a:solidFill>
              </a:rPr>
              <a:t>wait_resumed_ms_ticks</a:t>
            </a:r>
            <a:r>
              <a:rPr lang="en-US" dirty="0">
                <a:solidFill>
                  <a:srgbClr val="107C10"/>
                </a:solidFill>
              </a:rPr>
              <a:t> --&gt; Worker in Runnable state.</a:t>
            </a:r>
          </a:p>
          <a:p>
            <a:r>
              <a:rPr lang="en-US" dirty="0">
                <a:solidFill>
                  <a:srgbClr val="107C10"/>
                </a:solidFill>
              </a:rPr>
              <a:t>-- state -- &gt; Running, Runnable</a:t>
            </a:r>
            <a:r>
              <a:rPr lang="en-US">
                <a:solidFill>
                  <a:srgbClr val="107C10"/>
                </a:solidFill>
              </a:rPr>
              <a:t>, Suspended</a:t>
            </a:r>
            <a:endParaRPr lang="en-US" dirty="0">
              <a:solidFill>
                <a:srgbClr val="107C10"/>
              </a:solidFill>
            </a:endParaRPr>
          </a:p>
        </p:txBody>
      </p:sp>
      <p:sp>
        <p:nvSpPr>
          <p:cNvPr id="3" name="Title 2"/>
          <p:cNvSpPr>
            <a:spLocks noGrp="1"/>
          </p:cNvSpPr>
          <p:nvPr>
            <p:ph type="title"/>
          </p:nvPr>
        </p:nvSpPr>
        <p:spPr>
          <a:xfrm>
            <a:off x="449289" y="171839"/>
            <a:ext cx="10880725" cy="461665"/>
          </a:xfrm>
        </p:spPr>
        <p:txBody>
          <a:bodyPr/>
          <a:lstStyle/>
          <a:p>
            <a:r>
              <a:rPr lang="en-US"/>
              <a:t>Hierarchy of Common Terms</a:t>
            </a:r>
          </a:p>
        </p:txBody>
      </p:sp>
      <p:graphicFrame>
        <p:nvGraphicFramePr>
          <p:cNvPr id="5" name="Diagram 4">
            <a:extLst>
              <a:ext uri="{FF2B5EF4-FFF2-40B4-BE49-F238E27FC236}">
                <a16:creationId xmlns:a16="http://schemas.microsoft.com/office/drawing/2014/main" id="{0A23091C-5A2D-83DD-0187-BDA34FA6E0D3}"/>
              </a:ext>
            </a:extLst>
          </p:cNvPr>
          <p:cNvGraphicFramePr/>
          <p:nvPr>
            <p:extLst>
              <p:ext uri="{D42A27DB-BD31-4B8C-83A1-F6EECF244321}">
                <p14:modId xmlns:p14="http://schemas.microsoft.com/office/powerpoint/2010/main" val="870918411"/>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8553050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D1CF347-5419-3096-9588-9E4A70584D26}"/>
              </a:ext>
            </a:extLst>
          </p:cNvPr>
          <p:cNvGrpSpPr/>
          <p:nvPr/>
        </p:nvGrpSpPr>
        <p:grpSpPr>
          <a:xfrm>
            <a:off x="1293223" y="1071154"/>
            <a:ext cx="9163232" cy="5264332"/>
            <a:chOff x="1293223" y="1071154"/>
            <a:chExt cx="9163232" cy="5264332"/>
          </a:xfrm>
        </p:grpSpPr>
        <p:sp>
          <p:nvSpPr>
            <p:cNvPr id="2" name="Rectangle 1">
              <a:extLst>
                <a:ext uri="{FF2B5EF4-FFF2-40B4-BE49-F238E27FC236}">
                  <a16:creationId xmlns:a16="http://schemas.microsoft.com/office/drawing/2014/main" id="{7FC1B239-D7F1-D8F6-194A-28CE34EBD221}"/>
                </a:ext>
              </a:extLst>
            </p:cNvPr>
            <p:cNvSpPr/>
            <p:nvPr/>
          </p:nvSpPr>
          <p:spPr bwMode="auto">
            <a:xfrm>
              <a:off x="1293223" y="1071154"/>
              <a:ext cx="9157063" cy="52643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BBDF6ED2-2E40-4A32-A40F-418ED1BFC8F7}"/>
                </a:ext>
              </a:extLst>
            </p:cNvPr>
            <p:cNvSpPr/>
            <p:nvPr/>
          </p:nvSpPr>
          <p:spPr>
            <a:xfrm>
              <a:off x="1322847" y="1110196"/>
              <a:ext cx="9133608" cy="5225290"/>
            </a:xfrm>
            <a:prstGeom prst="rect">
              <a:avLst/>
            </a:prstGeom>
            <a:ln w="28575">
              <a:solidFill>
                <a:schemeClr val="accent1"/>
              </a:solidFill>
            </a:ln>
            <a:effectLst/>
          </p:spPr>
          <p:txBody>
            <a:bodyPr wrap="square">
              <a:noAutofit/>
            </a:bodyPr>
            <a:lstStyle/>
            <a:p>
              <a:r>
                <a:rPr lang="en-US" sz="2400" dirty="0">
                  <a:solidFill>
                    <a:srgbClr val="008000"/>
                  </a:solidFill>
                  <a:latin typeface="Consolas" panose="020B0609020204030204" pitchFamily="49" charset="0"/>
                </a:rPr>
                <a:t>-- Using DMVs to see sessions currently executing.</a:t>
              </a:r>
              <a:endParaRPr lang="en-US" sz="2400" dirty="0">
                <a:solidFill>
                  <a:srgbClr val="000000"/>
                </a:solidFill>
                <a:latin typeface="Consolas" panose="020B0609020204030204" pitchFamily="49" charset="0"/>
              </a:endParaRPr>
            </a:p>
            <a:p>
              <a:endParaRPr lang="en-US" sz="2400" dirty="0">
                <a:solidFill>
                  <a:srgbClr val="000000"/>
                </a:solidFill>
                <a:latin typeface="Consolas" panose="020B0609020204030204" pitchFamily="49" charset="0"/>
              </a:endParaRPr>
            </a:p>
            <a:p>
              <a:r>
                <a:rPr lang="en-US" sz="2400" dirty="0">
                  <a:solidFill>
                    <a:srgbClr val="0000FF"/>
                  </a:solidFill>
                  <a:latin typeface="Consolas" panose="020B0609020204030204" pitchFamily="49" charset="0"/>
                </a:rPr>
                <a:t>SELECT</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endParaRPr lang="en-US" sz="2400" dirty="0">
                <a:solidFill>
                  <a:srgbClr val="000000"/>
                </a:solidFill>
                <a:latin typeface="Consolas" panose="020B0609020204030204" pitchFamily="49" charset="0"/>
              </a:endParaRPr>
            </a:p>
            <a:p>
              <a:r>
                <a:rPr lang="en-US" sz="2400" dirty="0">
                  <a:solidFill>
                    <a:srgbClr val="0000FF"/>
                  </a:solidFill>
                  <a:latin typeface="Consolas" panose="020B0609020204030204" pitchFamily="49" charset="0"/>
                </a:rPr>
                <a:t>FROM</a:t>
              </a:r>
              <a:r>
                <a:rPr lang="en-US" sz="2400" dirty="0">
                  <a:solidFill>
                    <a:srgbClr val="000000"/>
                  </a:solidFill>
                  <a:latin typeface="Consolas" panose="020B0609020204030204" pitchFamily="49" charset="0"/>
                </a:rPr>
                <a:t> </a:t>
              </a:r>
              <a:r>
                <a:rPr lang="en-US" sz="2400" dirty="0" err="1">
                  <a:solidFill>
                    <a:schemeClr val="accent3"/>
                  </a:solidFill>
                  <a:latin typeface="Consolas" panose="020B0609020204030204" pitchFamily="49" charset="0"/>
                </a:rPr>
                <a:t>sys.dm_exec_connections</a:t>
              </a:r>
              <a:r>
                <a:rPr lang="en-US" sz="2400" dirty="0">
                  <a:solidFill>
                    <a:schemeClr val="accent3"/>
                  </a:solidFill>
                  <a:latin typeface="Consolas" panose="020B0609020204030204" pitchFamily="49" charset="0"/>
                </a:rPr>
                <a:t>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c</a:t>
              </a:r>
            </a:p>
            <a:p>
              <a:r>
                <a:rPr lang="en-US" sz="2400" dirty="0">
                  <a:solidFill>
                    <a:srgbClr val="808080"/>
                  </a:solidFill>
                  <a:latin typeface="Consolas" panose="020B0609020204030204" pitchFamily="49" charset="0"/>
                </a:rPr>
                <a:t>JOIN</a:t>
              </a:r>
              <a:r>
                <a:rPr lang="en-US" sz="2400" dirty="0">
                  <a:solidFill>
                    <a:srgbClr val="000000"/>
                  </a:solidFill>
                  <a:latin typeface="Consolas" panose="020B0609020204030204" pitchFamily="49" charset="0"/>
                </a:rPr>
                <a:t> </a:t>
              </a:r>
              <a:r>
                <a:rPr lang="en-US" sz="2400" dirty="0">
                  <a:solidFill>
                    <a:schemeClr val="accent3"/>
                  </a:solidFill>
                  <a:latin typeface="Consolas" panose="020B0609020204030204" pitchFamily="49" charset="0"/>
                </a:rPr>
                <a:t>sys.dm_exec_sessions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s</a:t>
              </a:r>
            </a:p>
            <a:p>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c</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s</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endParaRPr lang="en-US" sz="2400" dirty="0">
                <a:solidFill>
                  <a:srgbClr val="000000"/>
                </a:solidFill>
                <a:latin typeface="Consolas" panose="020B0609020204030204" pitchFamily="49" charset="0"/>
              </a:endParaRPr>
            </a:p>
            <a:p>
              <a:r>
                <a:rPr lang="en-US" sz="2400" dirty="0">
                  <a:solidFill>
                    <a:srgbClr val="808080"/>
                  </a:solidFill>
                  <a:latin typeface="Consolas" panose="020B0609020204030204" pitchFamily="49" charset="0"/>
                </a:rPr>
                <a:t>JOIN</a:t>
              </a:r>
              <a:r>
                <a:rPr lang="en-US" sz="2400" dirty="0">
                  <a:solidFill>
                    <a:srgbClr val="000000"/>
                  </a:solidFill>
                  <a:latin typeface="Consolas" panose="020B0609020204030204" pitchFamily="49" charset="0"/>
                </a:rPr>
                <a:t> </a:t>
              </a:r>
              <a:r>
                <a:rPr lang="en-US" sz="2400" dirty="0">
                  <a:solidFill>
                    <a:schemeClr val="accent3"/>
                  </a:solidFill>
                  <a:latin typeface="Consolas" panose="020B0609020204030204" pitchFamily="49" charset="0"/>
                </a:rPr>
                <a:t>sys.dm_exec_requests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r</a:t>
              </a:r>
            </a:p>
            <a:p>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s</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r</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endParaRPr lang="en-US" sz="2400" dirty="0">
                <a:solidFill>
                  <a:srgbClr val="000000"/>
                </a:solidFill>
                <a:latin typeface="Consolas" panose="020B0609020204030204" pitchFamily="49" charset="0"/>
              </a:endParaRPr>
            </a:p>
            <a:p>
              <a:r>
                <a:rPr lang="en-US" sz="2400" dirty="0">
                  <a:solidFill>
                    <a:srgbClr val="808080"/>
                  </a:solidFill>
                  <a:latin typeface="Consolas" panose="020B0609020204030204" pitchFamily="49" charset="0"/>
                </a:rPr>
                <a:t>JOIN</a:t>
              </a:r>
              <a:r>
                <a:rPr lang="en-US" sz="2400" dirty="0">
                  <a:solidFill>
                    <a:srgbClr val="000000"/>
                  </a:solidFill>
                  <a:latin typeface="Consolas" panose="020B0609020204030204" pitchFamily="49" charset="0"/>
                </a:rPr>
                <a:t> </a:t>
              </a:r>
              <a:r>
                <a:rPr lang="en-US" sz="2400" dirty="0">
                  <a:solidFill>
                    <a:schemeClr val="accent3"/>
                  </a:solidFill>
                  <a:latin typeface="Consolas" panose="020B0609020204030204" pitchFamily="49" charset="0"/>
                </a:rPr>
                <a:t>sys.dm_os_tasks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t</a:t>
              </a:r>
            </a:p>
            <a:p>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r</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t</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session_id</a:t>
              </a:r>
              <a:endParaRPr lang="en-US" sz="2400" dirty="0">
                <a:solidFill>
                  <a:srgbClr val="000000"/>
                </a:solidFill>
                <a:latin typeface="Consolas" panose="020B0609020204030204" pitchFamily="49" charset="0"/>
              </a:endParaRPr>
            </a:p>
            <a:p>
              <a:r>
                <a:rPr lang="en-US" sz="2400" dirty="0">
                  <a:solidFill>
                    <a:srgbClr val="808080"/>
                  </a:solidFill>
                  <a:latin typeface="Consolas" panose="020B0609020204030204" pitchFamily="49" charset="0"/>
                </a:rPr>
                <a:t>JOIN</a:t>
              </a:r>
              <a:r>
                <a:rPr lang="en-US" sz="2400" dirty="0">
                  <a:solidFill>
                    <a:srgbClr val="000000"/>
                  </a:solidFill>
                  <a:latin typeface="Consolas" panose="020B0609020204030204" pitchFamily="49" charset="0"/>
                </a:rPr>
                <a:t> </a:t>
              </a:r>
              <a:r>
                <a:rPr lang="en-US" sz="2400" dirty="0" err="1">
                  <a:solidFill>
                    <a:schemeClr val="accent3"/>
                  </a:solidFill>
                  <a:latin typeface="Consolas" panose="020B0609020204030204" pitchFamily="49" charset="0"/>
                </a:rPr>
                <a:t>sys.dm_os_workers</a:t>
              </a:r>
              <a:r>
                <a:rPr lang="en-US" sz="2400" dirty="0">
                  <a:solidFill>
                    <a:schemeClr val="accent3"/>
                  </a:solidFill>
                  <a:latin typeface="Consolas" panose="020B0609020204030204" pitchFamily="49" charset="0"/>
                </a:rPr>
                <a:t>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w</a:t>
              </a:r>
            </a:p>
            <a:p>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t</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task_address</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w</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task_address</a:t>
              </a:r>
              <a:endParaRPr lang="en-US" sz="2400" dirty="0">
                <a:solidFill>
                  <a:srgbClr val="107C10"/>
                </a:solidFill>
              </a:endParaRPr>
            </a:p>
          </p:txBody>
        </p:sp>
      </p:grpSp>
      <p:sp>
        <p:nvSpPr>
          <p:cNvPr id="3" name="Title 2"/>
          <p:cNvSpPr>
            <a:spLocks noGrp="1"/>
          </p:cNvSpPr>
          <p:nvPr>
            <p:ph type="title"/>
          </p:nvPr>
        </p:nvSpPr>
        <p:spPr>
          <a:xfrm>
            <a:off x="449289" y="171839"/>
            <a:ext cx="10880725" cy="461665"/>
          </a:xfrm>
        </p:spPr>
        <p:txBody>
          <a:bodyPr/>
          <a:lstStyle/>
          <a:p>
            <a:r>
              <a:rPr lang="en-US"/>
              <a:t>Hierarchy of Common Terms</a:t>
            </a:r>
          </a:p>
        </p:txBody>
      </p:sp>
    </p:spTree>
    <p:custDataLst>
      <p:tags r:id="rId1"/>
    </p:custDataLst>
    <p:extLst>
      <p:ext uri="{BB962C8B-B14F-4D97-AF65-F5344CB8AC3E}">
        <p14:creationId xmlns:p14="http://schemas.microsoft.com/office/powerpoint/2010/main" val="17183348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cheduling Types</a:t>
            </a:r>
          </a:p>
        </p:txBody>
      </p:sp>
      <p:graphicFrame>
        <p:nvGraphicFramePr>
          <p:cNvPr id="2" name="Content Placeholder 1">
            <a:extLst>
              <a:ext uri="{FF2B5EF4-FFF2-40B4-BE49-F238E27FC236}">
                <a16:creationId xmlns:a16="http://schemas.microsoft.com/office/drawing/2014/main" id="{0D89EE5E-0829-4FC2-8A0D-9BE67EA4A5F7}"/>
              </a:ext>
            </a:extLst>
          </p:cNvPr>
          <p:cNvGraphicFramePr>
            <a:graphicFrameLocks noGrp="1"/>
          </p:cNvGraphicFramePr>
          <p:nvPr>
            <p:ph sz="quarter" idx="13"/>
            <p:extLst>
              <p:ext uri="{D42A27DB-BD31-4B8C-83A1-F6EECF244321}">
                <p14:modId xmlns:p14="http://schemas.microsoft.com/office/powerpoint/2010/main" val="1239190218"/>
              </p:ext>
            </p:extLst>
          </p:nvPr>
        </p:nvGraphicFramePr>
        <p:xfrm>
          <a:off x="655638" y="1154114"/>
          <a:ext cx="10880726" cy="51298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2399653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QL Server Task Scheduling</a:t>
            </a:r>
          </a:p>
        </p:txBody>
      </p:sp>
      <p:graphicFrame>
        <p:nvGraphicFramePr>
          <p:cNvPr id="4" name="Content Placeholder 3">
            <a:extLst>
              <a:ext uri="{FF2B5EF4-FFF2-40B4-BE49-F238E27FC236}">
                <a16:creationId xmlns:a16="http://schemas.microsoft.com/office/drawing/2014/main" id="{0FA377F3-E488-4F45-BF29-6E607702DF83}"/>
              </a:ext>
            </a:extLst>
          </p:cNvPr>
          <p:cNvGraphicFramePr>
            <a:graphicFrameLocks noGrp="1"/>
          </p:cNvGraphicFramePr>
          <p:nvPr>
            <p:ph sz="quarter" idx="13"/>
            <p:extLst>
              <p:ext uri="{D42A27DB-BD31-4B8C-83A1-F6EECF244321}">
                <p14:modId xmlns:p14="http://schemas.microsoft.com/office/powerpoint/2010/main" val="168627400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6888226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Yielding</a:t>
            </a:r>
          </a:p>
        </p:txBody>
      </p:sp>
      <p:graphicFrame>
        <p:nvGraphicFramePr>
          <p:cNvPr id="2" name="Content Placeholder 1">
            <a:extLst>
              <a:ext uri="{FF2B5EF4-FFF2-40B4-BE49-F238E27FC236}">
                <a16:creationId xmlns:a16="http://schemas.microsoft.com/office/drawing/2014/main" id="{69E14DDC-DD3E-494F-BA44-6C3034737461}"/>
              </a:ext>
            </a:extLst>
          </p:cNvPr>
          <p:cNvGraphicFramePr>
            <a:graphicFrameLocks noGrp="1"/>
          </p:cNvGraphicFramePr>
          <p:nvPr>
            <p:ph sz="quarter" idx="13"/>
            <p:extLst>
              <p:ext uri="{D42A27DB-BD31-4B8C-83A1-F6EECF244321}">
                <p14:modId xmlns:p14="http://schemas.microsoft.com/office/powerpoint/2010/main" val="2070098049"/>
              </p:ext>
            </p:extLst>
          </p:nvPr>
        </p:nvGraphicFramePr>
        <p:xfrm>
          <a:off x="655638" y="768350"/>
          <a:ext cx="10880725" cy="558432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7087579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b="1" dirty="0">
                <a:solidFill>
                  <a:schemeClr val="accent1"/>
                </a:solidFill>
                <a:latin typeface="+mn-lt"/>
              </a:rPr>
              <a:t>Thread States and Queues</a:t>
            </a:r>
          </a:p>
        </p:txBody>
      </p:sp>
      <p:graphicFrame>
        <p:nvGraphicFramePr>
          <p:cNvPr id="3" name="Diagram 2">
            <a:extLst>
              <a:ext uri="{FF2B5EF4-FFF2-40B4-BE49-F238E27FC236}">
                <a16:creationId xmlns:a16="http://schemas.microsoft.com/office/drawing/2014/main" id="{8C5A161C-459C-47E2-A87D-EE120BBEB10F}"/>
              </a:ext>
            </a:extLst>
          </p:cNvPr>
          <p:cNvGraphicFramePr/>
          <p:nvPr>
            <p:extLst>
              <p:ext uri="{D42A27DB-BD31-4B8C-83A1-F6EECF244321}">
                <p14:modId xmlns:p14="http://schemas.microsoft.com/office/powerpoint/2010/main" val="378324864"/>
              </p:ext>
            </p:extLst>
          </p:nvPr>
        </p:nvGraphicFramePr>
        <p:xfrm>
          <a:off x="419348" y="901701"/>
          <a:ext cx="11353305" cy="54805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03672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8080" y="325469"/>
            <a:ext cx="11655840" cy="462434"/>
          </a:xfrm>
        </p:spPr>
        <p:txBody>
          <a:bodyPr/>
          <a:lstStyle/>
          <a:p>
            <a:r>
              <a:rPr lang="en-US" sz="4000" b="1" dirty="0"/>
              <a:t>Yielding </a:t>
            </a:r>
          </a:p>
        </p:txBody>
      </p:sp>
      <p:grpSp>
        <p:nvGrpSpPr>
          <p:cNvPr id="27" name="Group 26">
            <a:extLst>
              <a:ext uri="{FF2B5EF4-FFF2-40B4-BE49-F238E27FC236}">
                <a16:creationId xmlns:a16="http://schemas.microsoft.com/office/drawing/2014/main" id="{7601F592-A5F0-42C2-8412-7BDC5944ADE5}"/>
              </a:ext>
            </a:extLst>
          </p:cNvPr>
          <p:cNvGrpSpPr/>
          <p:nvPr/>
        </p:nvGrpSpPr>
        <p:grpSpPr>
          <a:xfrm>
            <a:off x="799453" y="1189494"/>
            <a:ext cx="10593094" cy="5231572"/>
            <a:chOff x="666867" y="907088"/>
            <a:chExt cx="10805508" cy="5336476"/>
          </a:xfrm>
        </p:grpSpPr>
        <p:sp>
          <p:nvSpPr>
            <p:cNvPr id="28" name="Oval 27" descr="A black circle representing the start of a task." title="Start">
              <a:extLst>
                <a:ext uri="{FF2B5EF4-FFF2-40B4-BE49-F238E27FC236}">
                  <a16:creationId xmlns:a16="http://schemas.microsoft.com/office/drawing/2014/main" id="{F7386285-8275-4DE3-84F0-5D12B5FBF37C}"/>
                </a:ext>
              </a:extLst>
            </p:cNvPr>
            <p:cNvSpPr/>
            <p:nvPr/>
          </p:nvSpPr>
          <p:spPr bwMode="auto">
            <a:xfrm>
              <a:off x="666867" y="1115637"/>
              <a:ext cx="661591" cy="660630"/>
            </a:xfrm>
            <a:prstGeom prst="ellipse">
              <a:avLst/>
            </a:prstGeom>
            <a:solidFill>
              <a:srgbClr val="FFFFFF"/>
            </a:solidFill>
            <a:ln w="76200" cap="flat" cmpd="sng" algn="ctr">
              <a:solidFill>
                <a:srgbClr val="2098D5">
                  <a:lumMod val="50000"/>
                </a:srgbClr>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29" name="Oval 28">
              <a:extLst>
                <a:ext uri="{FF2B5EF4-FFF2-40B4-BE49-F238E27FC236}">
                  <a16:creationId xmlns:a16="http://schemas.microsoft.com/office/drawing/2014/main" id="{5C18D1A0-24FE-417E-9704-F0081B05CC60}"/>
                </a:ext>
              </a:extLst>
            </p:cNvPr>
            <p:cNvSpPr/>
            <p:nvPr/>
          </p:nvSpPr>
          <p:spPr bwMode="auto">
            <a:xfrm>
              <a:off x="10825816" y="3261822"/>
              <a:ext cx="517247" cy="470987"/>
            </a:xfrm>
            <a:prstGeom prst="ellipse">
              <a:avLst/>
            </a:prstGeom>
            <a:solidFill>
              <a:schemeClr val="accent3"/>
            </a:solidFill>
            <a:ln w="9525" cap="flat" cmpd="sng" algn="ctr">
              <a:no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30" name="Oval 29">
              <a:extLst>
                <a:ext uri="{FF2B5EF4-FFF2-40B4-BE49-F238E27FC236}">
                  <a16:creationId xmlns:a16="http://schemas.microsoft.com/office/drawing/2014/main" id="{4144FB25-5F66-4958-A8EE-53BE064BCD7A}"/>
                </a:ext>
              </a:extLst>
            </p:cNvPr>
            <p:cNvSpPr/>
            <p:nvPr/>
          </p:nvSpPr>
          <p:spPr bwMode="auto">
            <a:xfrm>
              <a:off x="10696504" y="3144075"/>
              <a:ext cx="775871" cy="706480"/>
            </a:xfrm>
            <a:prstGeom prst="ellipse">
              <a:avLst/>
            </a:prstGeom>
            <a:noFill/>
            <a:ln w="63500" cap="flat" cmpd="sng" algn="ctr">
              <a:solidFill>
                <a:srgbClr val="2098D5">
                  <a:lumMod val="50000"/>
                </a:srgbClr>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31" name="TextBox 30">
              <a:extLst>
                <a:ext uri="{FF2B5EF4-FFF2-40B4-BE49-F238E27FC236}">
                  <a16:creationId xmlns:a16="http://schemas.microsoft.com/office/drawing/2014/main" id="{A3948E0C-EFC5-4858-B2EA-B1262B11A979}"/>
                </a:ext>
              </a:extLst>
            </p:cNvPr>
            <p:cNvSpPr txBox="1"/>
            <p:nvPr/>
          </p:nvSpPr>
          <p:spPr>
            <a:xfrm>
              <a:off x="666867" y="1825676"/>
              <a:ext cx="70974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Start</a:t>
              </a:r>
              <a:endParaRPr lang="en-US" sz="1765" b="1" kern="0" dirty="0">
                <a:solidFill>
                  <a:srgbClr val="000000"/>
                </a:solidFill>
                <a:latin typeface="Segoe UI"/>
                <a:cs typeface="Segoe UI" panose="020B0502040204020203" pitchFamily="34" charset="0"/>
              </a:endParaRPr>
            </a:p>
          </p:txBody>
        </p:sp>
        <p:sp>
          <p:nvSpPr>
            <p:cNvPr id="32" name="TextBox 31">
              <a:extLst>
                <a:ext uri="{FF2B5EF4-FFF2-40B4-BE49-F238E27FC236}">
                  <a16:creationId xmlns:a16="http://schemas.microsoft.com/office/drawing/2014/main" id="{13F72CFA-987B-4497-962B-BFD4C1E977E3}"/>
                </a:ext>
              </a:extLst>
            </p:cNvPr>
            <p:cNvSpPr txBox="1"/>
            <p:nvPr/>
          </p:nvSpPr>
          <p:spPr>
            <a:xfrm>
              <a:off x="10800547" y="3901395"/>
              <a:ext cx="59022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End</a:t>
              </a:r>
              <a:endParaRPr lang="en-US" sz="1765" b="1" kern="0" dirty="0">
                <a:solidFill>
                  <a:srgbClr val="000000"/>
                </a:solidFill>
                <a:latin typeface="Segoe UI"/>
                <a:cs typeface="Segoe UI" panose="020B0502040204020203" pitchFamily="34" charset="0"/>
              </a:endParaRPr>
            </a:p>
          </p:txBody>
        </p:sp>
        <p:cxnSp>
          <p:nvCxnSpPr>
            <p:cNvPr id="33" name="Straight Arrow Connector 32" descr="An unlablled arrow linking the Start of the process to the Runnable list box." title="starting">
              <a:extLst>
                <a:ext uri="{FF2B5EF4-FFF2-40B4-BE49-F238E27FC236}">
                  <a16:creationId xmlns:a16="http://schemas.microsoft.com/office/drawing/2014/main" id="{265A2689-E6C6-4A7C-BC2E-81F9D293441A}"/>
                </a:ext>
              </a:extLst>
            </p:cNvPr>
            <p:cNvCxnSpPr>
              <a:cxnSpLocks/>
            </p:cNvCxnSpPr>
            <p:nvPr/>
          </p:nvCxnSpPr>
          <p:spPr bwMode="auto">
            <a:xfrm>
              <a:off x="1529947" y="1459747"/>
              <a:ext cx="793062"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4" name="Straight Arrow Connector 33" descr="An arrow from the CPU box to the End of the process labelled &quot;Complete&quot;." title="Complete">
              <a:extLst>
                <a:ext uri="{FF2B5EF4-FFF2-40B4-BE49-F238E27FC236}">
                  <a16:creationId xmlns:a16="http://schemas.microsoft.com/office/drawing/2014/main" id="{5BF75EF2-BFBC-47AF-82A5-678AB053EC43}"/>
                </a:ext>
              </a:extLst>
            </p:cNvPr>
            <p:cNvCxnSpPr/>
            <p:nvPr/>
          </p:nvCxnSpPr>
          <p:spPr bwMode="auto">
            <a:xfrm>
              <a:off x="9060465" y="3522670"/>
              <a:ext cx="1440248"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5" name="Straight Arrow Connector 34" descr="An arrow from the CPU box to the Waiter List box, labelled &quot;Resource blocked&quot;." title="Resource blocked">
              <a:extLst>
                <a:ext uri="{FF2B5EF4-FFF2-40B4-BE49-F238E27FC236}">
                  <a16:creationId xmlns:a16="http://schemas.microsoft.com/office/drawing/2014/main" id="{B5AB4B11-30FB-424B-9708-C94A63D2F5A6}"/>
                </a:ext>
              </a:extLst>
            </p:cNvPr>
            <p:cNvCxnSpPr>
              <a:cxnSpLocks/>
            </p:cNvCxnSpPr>
            <p:nvPr/>
          </p:nvCxnSpPr>
          <p:spPr bwMode="auto">
            <a:xfrm>
              <a:off x="7451257" y="4177927"/>
              <a:ext cx="0" cy="673008"/>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6" name="Elbow Connector 15" descr="An arrow from the Waiter List box to the Runnable List box, labelled &quot;Resource available&quot;." title="Resource available">
              <a:extLst>
                <a:ext uri="{FF2B5EF4-FFF2-40B4-BE49-F238E27FC236}">
                  <a16:creationId xmlns:a16="http://schemas.microsoft.com/office/drawing/2014/main" id="{10058B89-DF3A-45DE-B40A-9AAC923BEC68}"/>
                </a:ext>
              </a:extLst>
            </p:cNvPr>
            <p:cNvCxnSpPr/>
            <p:nvPr/>
          </p:nvCxnSpPr>
          <p:spPr bwMode="auto">
            <a:xfrm rot="10800000">
              <a:off x="3088301" y="2206325"/>
              <a:ext cx="2728617" cy="3225459"/>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7" name="Elbow Connector 16" descr="An arrow from the Runnable List box to the CPU box, labelled &quot;CPU available&quot;." title="CPU available">
              <a:extLst>
                <a:ext uri="{FF2B5EF4-FFF2-40B4-BE49-F238E27FC236}">
                  <a16:creationId xmlns:a16="http://schemas.microsoft.com/office/drawing/2014/main" id="{5994C78D-99CE-4354-90F1-D9C1A6AE94A5}"/>
                </a:ext>
              </a:extLst>
            </p:cNvPr>
            <p:cNvCxnSpPr>
              <a:cxnSpLocks/>
            </p:cNvCxnSpPr>
            <p:nvPr/>
          </p:nvCxnSpPr>
          <p:spPr bwMode="auto">
            <a:xfrm>
              <a:off x="5391146" y="1532726"/>
              <a:ext cx="2019966"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8" name="Elbow Connector 17" descr="An arrow from the CPU box to the Runnable list box, labelled &quot;Quantum exhausted&quot;" title="Quantum exhausted">
              <a:extLst>
                <a:ext uri="{FF2B5EF4-FFF2-40B4-BE49-F238E27FC236}">
                  <a16:creationId xmlns:a16="http://schemas.microsoft.com/office/drawing/2014/main" id="{C0D4D7AC-042B-4B08-B45F-994D70570045}"/>
                </a:ext>
              </a:extLst>
            </p:cNvPr>
            <p:cNvCxnSpPr/>
            <p:nvPr/>
          </p:nvCxnSpPr>
          <p:spPr bwMode="auto">
            <a:xfrm rot="10800000">
              <a:off x="3782017" y="2291086"/>
              <a:ext cx="2019965"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sp>
          <p:nvSpPr>
            <p:cNvPr id="39" name="TextBox 38">
              <a:extLst>
                <a:ext uri="{FF2B5EF4-FFF2-40B4-BE49-F238E27FC236}">
                  <a16:creationId xmlns:a16="http://schemas.microsoft.com/office/drawing/2014/main" id="{B68F64D0-F889-4043-8063-C24CF5C5694F}"/>
                </a:ext>
              </a:extLst>
            </p:cNvPr>
            <p:cNvSpPr txBox="1"/>
            <p:nvPr/>
          </p:nvSpPr>
          <p:spPr>
            <a:xfrm>
              <a:off x="5620787" y="1111019"/>
              <a:ext cx="1657570"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CPU available</a:t>
              </a:r>
              <a:endParaRPr lang="en-US" sz="1765" b="1" kern="0" dirty="0">
                <a:solidFill>
                  <a:srgbClr val="000000"/>
                </a:solidFill>
                <a:latin typeface="Segoe UI"/>
                <a:cs typeface="Segoe UI" panose="020B0502040204020203" pitchFamily="34" charset="0"/>
              </a:endParaRPr>
            </a:p>
          </p:txBody>
        </p:sp>
        <p:sp>
          <p:nvSpPr>
            <p:cNvPr id="40" name="TextBox 39">
              <a:extLst>
                <a:ext uri="{FF2B5EF4-FFF2-40B4-BE49-F238E27FC236}">
                  <a16:creationId xmlns:a16="http://schemas.microsoft.com/office/drawing/2014/main" id="{5190F655-9D5F-483B-B53B-9B10C3E6BFCE}"/>
                </a:ext>
              </a:extLst>
            </p:cNvPr>
            <p:cNvSpPr txBox="1"/>
            <p:nvPr/>
          </p:nvSpPr>
          <p:spPr>
            <a:xfrm>
              <a:off x="3522233" y="3637843"/>
              <a:ext cx="2379882"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Quantum exhausted</a:t>
              </a:r>
              <a:endParaRPr lang="en-US" sz="1765" b="1" kern="0" dirty="0">
                <a:solidFill>
                  <a:srgbClr val="000000"/>
                </a:solidFill>
                <a:latin typeface="Segoe UI"/>
                <a:cs typeface="Segoe UI" panose="020B0502040204020203" pitchFamily="34" charset="0"/>
              </a:endParaRPr>
            </a:p>
          </p:txBody>
        </p:sp>
        <p:sp>
          <p:nvSpPr>
            <p:cNvPr id="41" name="TextBox 40">
              <a:extLst>
                <a:ext uri="{FF2B5EF4-FFF2-40B4-BE49-F238E27FC236}">
                  <a16:creationId xmlns:a16="http://schemas.microsoft.com/office/drawing/2014/main" id="{CFB2DE08-CF9E-4E4F-ACC9-DB2AF7058FA1}"/>
                </a:ext>
              </a:extLst>
            </p:cNvPr>
            <p:cNvSpPr txBox="1"/>
            <p:nvPr/>
          </p:nvSpPr>
          <p:spPr>
            <a:xfrm>
              <a:off x="3502513" y="5535627"/>
              <a:ext cx="2183098"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Resource available</a:t>
              </a:r>
              <a:endParaRPr lang="en-US" sz="1765" b="1" kern="0" dirty="0">
                <a:solidFill>
                  <a:srgbClr val="000000"/>
                </a:solidFill>
                <a:latin typeface="Segoe UI"/>
                <a:cs typeface="Segoe UI" panose="020B0502040204020203" pitchFamily="34" charset="0"/>
              </a:endParaRPr>
            </a:p>
          </p:txBody>
        </p:sp>
        <p:sp>
          <p:nvSpPr>
            <p:cNvPr id="42" name="TextBox 41">
              <a:extLst>
                <a:ext uri="{FF2B5EF4-FFF2-40B4-BE49-F238E27FC236}">
                  <a16:creationId xmlns:a16="http://schemas.microsoft.com/office/drawing/2014/main" id="{B5A36C20-7A63-41A9-8930-088E1DB6A996}"/>
                </a:ext>
              </a:extLst>
            </p:cNvPr>
            <p:cNvSpPr txBox="1"/>
            <p:nvPr/>
          </p:nvSpPr>
          <p:spPr>
            <a:xfrm>
              <a:off x="7614123" y="4297327"/>
              <a:ext cx="2080698"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Resource blocked</a:t>
              </a:r>
              <a:endParaRPr lang="en-US" sz="1765" b="1" kern="0" dirty="0">
                <a:solidFill>
                  <a:srgbClr val="000000"/>
                </a:solidFill>
                <a:latin typeface="Segoe UI"/>
                <a:cs typeface="Segoe UI" panose="020B0502040204020203" pitchFamily="34" charset="0"/>
              </a:endParaRPr>
            </a:p>
          </p:txBody>
        </p:sp>
        <p:sp>
          <p:nvSpPr>
            <p:cNvPr id="43" name="TextBox 42">
              <a:extLst>
                <a:ext uri="{FF2B5EF4-FFF2-40B4-BE49-F238E27FC236}">
                  <a16:creationId xmlns:a16="http://schemas.microsoft.com/office/drawing/2014/main" id="{156DC059-0289-42DF-9AF6-F67C90CAEE79}"/>
                </a:ext>
              </a:extLst>
            </p:cNvPr>
            <p:cNvSpPr txBox="1"/>
            <p:nvPr/>
          </p:nvSpPr>
          <p:spPr>
            <a:xfrm>
              <a:off x="9176993" y="3051137"/>
              <a:ext cx="122892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Complete</a:t>
              </a:r>
              <a:endParaRPr lang="en-US" sz="1765" b="1" kern="0" dirty="0">
                <a:solidFill>
                  <a:srgbClr val="000000"/>
                </a:solidFill>
                <a:latin typeface="Segoe UI"/>
                <a:cs typeface="Segoe UI" panose="020B0502040204020203" pitchFamily="34" charset="0"/>
              </a:endParaRPr>
            </a:p>
          </p:txBody>
        </p:sp>
        <p:sp>
          <p:nvSpPr>
            <p:cNvPr id="44" name="Rectangle: Rounded Corners 43">
              <a:extLst>
                <a:ext uri="{FF2B5EF4-FFF2-40B4-BE49-F238E27FC236}">
                  <a16:creationId xmlns:a16="http://schemas.microsoft.com/office/drawing/2014/main" id="{4A152612-7ECF-4DD4-95E8-395185F051E6}"/>
                </a:ext>
              </a:extLst>
            </p:cNvPr>
            <p:cNvSpPr/>
            <p:nvPr/>
          </p:nvSpPr>
          <p:spPr>
            <a:xfrm>
              <a:off x="2416375" y="907088"/>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Runnable List</a:t>
              </a:r>
            </a:p>
            <a:p>
              <a:pPr defTabSz="896386" fontAlgn="base">
                <a:spcBef>
                  <a:spcPct val="0"/>
                </a:spcBef>
                <a:spcAft>
                  <a:spcPct val="0"/>
                </a:spcAft>
                <a:defRPr/>
              </a:pPr>
              <a:endParaRPr lang="en-GB" sz="2353" kern="0" dirty="0">
                <a:solidFill>
                  <a:srgbClr val="50505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Status: </a:t>
              </a:r>
              <a:r>
                <a:rPr lang="en-GB" sz="2353" b="1" kern="0" dirty="0">
                  <a:solidFill>
                    <a:srgbClr val="505050"/>
                  </a:solidFill>
                  <a:latin typeface="Segoe UI"/>
                  <a:cs typeface="Segoe UI" panose="020B0502040204020203" pitchFamily="34" charset="0"/>
                </a:rPr>
                <a:t>runnable</a:t>
              </a:r>
              <a:endParaRPr lang="en-US" sz="2353" b="1" kern="0" dirty="0">
                <a:solidFill>
                  <a:srgbClr val="505050"/>
                </a:solidFill>
                <a:latin typeface="Segoe UI"/>
                <a:cs typeface="Segoe UI" panose="020B0502040204020203" pitchFamily="34" charset="0"/>
              </a:endParaRPr>
            </a:p>
          </p:txBody>
        </p:sp>
        <p:sp>
          <p:nvSpPr>
            <p:cNvPr id="45" name="Rectangle: Rounded Corners 44">
              <a:extLst>
                <a:ext uri="{FF2B5EF4-FFF2-40B4-BE49-F238E27FC236}">
                  <a16:creationId xmlns:a16="http://schemas.microsoft.com/office/drawing/2014/main" id="{75E2F568-F439-40E0-A59A-AE4D016C2F8E}"/>
                </a:ext>
              </a:extLst>
            </p:cNvPr>
            <p:cNvSpPr/>
            <p:nvPr/>
          </p:nvSpPr>
          <p:spPr>
            <a:xfrm>
              <a:off x="6028360" y="2849000"/>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CPU</a:t>
              </a:r>
            </a:p>
            <a:p>
              <a:pPr defTabSz="896386" fontAlgn="base">
                <a:spcBef>
                  <a:spcPct val="0"/>
                </a:spcBef>
                <a:spcAft>
                  <a:spcPct val="0"/>
                </a:spcAft>
                <a:defRPr/>
              </a:pPr>
              <a:endParaRPr lang="en-GB" sz="2353" kern="0" dirty="0">
                <a:solidFill>
                  <a:srgbClr val="50505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Status: </a:t>
              </a:r>
              <a:r>
                <a:rPr lang="en-GB" sz="2353" b="1" kern="0" dirty="0">
                  <a:solidFill>
                    <a:srgbClr val="505050"/>
                  </a:solidFill>
                  <a:latin typeface="Segoe UI"/>
                  <a:cs typeface="Segoe UI" panose="020B0502040204020203" pitchFamily="34" charset="0"/>
                </a:rPr>
                <a:t>running</a:t>
              </a:r>
              <a:endParaRPr lang="en-US" sz="2353" b="1" kern="0" dirty="0">
                <a:solidFill>
                  <a:srgbClr val="505050"/>
                </a:solidFill>
                <a:latin typeface="Segoe UI"/>
                <a:cs typeface="Segoe UI" panose="020B0502040204020203" pitchFamily="34" charset="0"/>
              </a:endParaRPr>
            </a:p>
          </p:txBody>
        </p:sp>
        <p:sp>
          <p:nvSpPr>
            <p:cNvPr id="46" name="Rectangle: Rounded Corners 45">
              <a:extLst>
                <a:ext uri="{FF2B5EF4-FFF2-40B4-BE49-F238E27FC236}">
                  <a16:creationId xmlns:a16="http://schemas.microsoft.com/office/drawing/2014/main" id="{9D847284-253B-45B2-AD82-2AB9BCF87087}"/>
                </a:ext>
              </a:extLst>
            </p:cNvPr>
            <p:cNvSpPr/>
            <p:nvPr/>
          </p:nvSpPr>
          <p:spPr>
            <a:xfrm>
              <a:off x="5988606" y="4953526"/>
              <a:ext cx="2845011" cy="1290038"/>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Waiter List</a:t>
              </a:r>
            </a:p>
            <a:p>
              <a:pPr defTabSz="896386" fontAlgn="base">
                <a:spcBef>
                  <a:spcPct val="0"/>
                </a:spcBef>
                <a:spcAft>
                  <a:spcPct val="0"/>
                </a:spcAft>
                <a:defRPr/>
              </a:pPr>
              <a:endParaRPr lang="en-GB" sz="2353" kern="0" dirty="0">
                <a:solidFill>
                  <a:srgbClr val="50505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Status: </a:t>
              </a:r>
              <a:r>
                <a:rPr lang="en-GB" sz="2353" b="1" kern="0" dirty="0">
                  <a:solidFill>
                    <a:srgbClr val="505050"/>
                  </a:solidFill>
                  <a:latin typeface="Segoe UI"/>
                  <a:cs typeface="Segoe UI" panose="020B0502040204020203" pitchFamily="34" charset="0"/>
                </a:rPr>
                <a:t>suspended</a:t>
              </a:r>
              <a:endParaRPr lang="en-US" sz="2353" b="1" kern="0" dirty="0">
                <a:solidFill>
                  <a:srgbClr val="505050"/>
                </a:solidFill>
                <a:latin typeface="Segoe UI"/>
                <a:cs typeface="Segoe UI" panose="020B0502040204020203" pitchFamily="34" charset="0"/>
              </a:endParaRPr>
            </a:p>
          </p:txBody>
        </p:sp>
      </p:grpSp>
    </p:spTree>
    <p:custDataLst>
      <p:tags r:id="rId1"/>
    </p:custDataLst>
    <p:extLst>
      <p:ext uri="{BB962C8B-B14F-4D97-AF65-F5344CB8AC3E}">
        <p14:creationId xmlns:p14="http://schemas.microsoft.com/office/powerpoint/2010/main" val="5193785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Runnable Task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Introduction to SQL Operating System</a:t>
            </a:r>
          </a:p>
          <a:p>
            <a:r>
              <a:rPr lang="en-US" dirty="0"/>
              <a:t>Lesson 2: SQL Server Task Scheduling</a:t>
            </a:r>
          </a:p>
          <a:p>
            <a:r>
              <a:rPr lang="en-US" dirty="0"/>
              <a:t>Lesson 3: SQL Server Waits and Queues</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719930577"/>
              </p:ext>
            </p:extLst>
          </p:nvPr>
        </p:nvGraphicFramePr>
        <p:xfrm>
          <a:off x="655638" y="1408113"/>
          <a:ext cx="10880725" cy="28851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8400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SQL Server Waits and Queues</a:t>
            </a:r>
          </a:p>
        </p:txBody>
      </p:sp>
    </p:spTree>
    <p:extLst>
      <p:ext uri="{BB962C8B-B14F-4D97-AF65-F5344CB8AC3E}">
        <p14:creationId xmlns:p14="http://schemas.microsoft.com/office/powerpoint/2010/main" val="574958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sing Waits and Queues to troubleshoot resource bottleneck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aits and Queues</a:t>
            </a:r>
          </a:p>
        </p:txBody>
      </p:sp>
      <p:graphicFrame>
        <p:nvGraphicFramePr>
          <p:cNvPr id="2" name="Content Placeholder 1">
            <a:extLst>
              <a:ext uri="{FF2B5EF4-FFF2-40B4-BE49-F238E27FC236}">
                <a16:creationId xmlns:a16="http://schemas.microsoft.com/office/drawing/2014/main" id="{12CAC5E0-339E-4546-BF78-078397760075}"/>
              </a:ext>
            </a:extLst>
          </p:cNvPr>
          <p:cNvGraphicFramePr>
            <a:graphicFrameLocks noGrp="1"/>
          </p:cNvGraphicFramePr>
          <p:nvPr>
            <p:ph sz="quarter" idx="13"/>
            <p:extLst>
              <p:ext uri="{D42A27DB-BD31-4B8C-83A1-F6EECF244321}">
                <p14:modId xmlns:p14="http://schemas.microsoft.com/office/powerpoint/2010/main" val="256560842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33611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Using Waits and Queues</a:t>
            </a:r>
          </a:p>
        </p:txBody>
      </p:sp>
      <p:graphicFrame>
        <p:nvGraphicFramePr>
          <p:cNvPr id="4" name="Content Placeholder 3">
            <a:extLst>
              <a:ext uri="{FF2B5EF4-FFF2-40B4-BE49-F238E27FC236}">
                <a16:creationId xmlns:a16="http://schemas.microsoft.com/office/drawing/2014/main" id="{EB0CFA98-0AF2-4E43-B637-E8934A356532}"/>
              </a:ext>
            </a:extLst>
          </p:cNvPr>
          <p:cNvGraphicFramePr>
            <a:graphicFrameLocks noGrp="1"/>
          </p:cNvGraphicFramePr>
          <p:nvPr>
            <p:ph sz="quarter" idx="13"/>
            <p:extLst>
              <p:ext uri="{D42A27DB-BD31-4B8C-83A1-F6EECF244321}">
                <p14:modId xmlns:p14="http://schemas.microsoft.com/office/powerpoint/2010/main" val="1006573166"/>
              </p:ext>
            </p:extLst>
          </p:nvPr>
        </p:nvGraphicFramePr>
        <p:xfrm>
          <a:off x="655637" y="1194797"/>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5045061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ask Execution Model</a:t>
            </a:r>
          </a:p>
        </p:txBody>
      </p:sp>
      <p:sp>
        <p:nvSpPr>
          <p:cNvPr id="2" name="Text Placeholder 1"/>
          <p:cNvSpPr>
            <a:spLocks noGrp="1"/>
          </p:cNvSpPr>
          <p:nvPr>
            <p:ph sz="quarter" idx="13"/>
          </p:nvPr>
        </p:nvSpPr>
        <p:spPr/>
        <p:txBody>
          <a:bodyPr/>
          <a:lstStyle/>
          <a:p>
            <a:r>
              <a:rPr lang="en-US" dirty="0">
                <a:solidFill>
                  <a:srgbClr val="000000"/>
                </a:solidFill>
              </a:rPr>
              <a:t>The full cycle between the several task states, for how many times it needs to cycle, is what we experience as the total query response time.</a:t>
            </a:r>
          </a:p>
          <a:p>
            <a:endParaRPr lang="en-US" dirty="0">
              <a:solidFill>
                <a:srgbClr val="000000"/>
              </a:solidFill>
            </a:endParaRPr>
          </a:p>
          <a:p>
            <a:endParaRPr lang="en-US" dirty="0">
              <a:solidFill>
                <a:srgbClr val="000000"/>
              </a:solidFill>
            </a:endParaRPr>
          </a:p>
        </p:txBody>
      </p:sp>
      <p:graphicFrame>
        <p:nvGraphicFramePr>
          <p:cNvPr id="6" name="Content Placeholder 4"/>
          <p:cNvGraphicFramePr>
            <a:graphicFrameLocks/>
          </p:cNvGraphicFramePr>
          <p:nvPr>
            <p:extLst>
              <p:ext uri="{D42A27DB-BD31-4B8C-83A1-F6EECF244321}">
                <p14:modId xmlns:p14="http://schemas.microsoft.com/office/powerpoint/2010/main" val="3885719467"/>
              </p:ext>
            </p:extLst>
          </p:nvPr>
        </p:nvGraphicFramePr>
        <p:xfrm>
          <a:off x="792154" y="2681979"/>
          <a:ext cx="10711966" cy="3436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813364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ask Execution Model</a:t>
            </a:r>
          </a:p>
        </p:txBody>
      </p:sp>
      <p:sp>
        <p:nvSpPr>
          <p:cNvPr id="73" name="Slide Number Placeholder 3"/>
          <p:cNvSpPr txBox="1">
            <a:spLocks/>
          </p:cNvSpPr>
          <p:nvPr/>
        </p:nvSpPr>
        <p:spPr>
          <a:xfrm>
            <a:off x="9708409" y="5295157"/>
            <a:ext cx="2788481" cy="357896"/>
          </a:xfrm>
          <a:prstGeom prst="rect">
            <a:avLst/>
          </a:prstGeom>
        </p:spPr>
        <p:txBody>
          <a:bodyPr vert="horz" lIns="179259" tIns="44814" rIns="179259" bIns="44814" rtlCol="0" anchor="ctr"/>
          <a:lstStyle>
            <a:defPPr>
              <a:defRPr lang="en-US"/>
            </a:defPPr>
            <a:lvl1pPr marL="0" algn="r" defTabSz="457200" rtl="0" eaLnBrk="1" latinLnBrk="0" hangingPunct="1">
              <a:defRPr sz="800" kern="1200">
                <a:solidFill>
                  <a:srgbClr val="3F3F3F"/>
                </a:solidFill>
                <a:latin typeface="Segoe UI Light" panose="020B0502040204020203" pitchFamily="34" charset="0"/>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48107">
              <a:defRPr/>
            </a:pPr>
            <a:fld id="{74A398B2-5A34-1A4A-811E-F4027282568C}" type="slidenum">
              <a:rPr lang="en-US" sz="784"/>
              <a:pPr defTabSz="448107">
                <a:defRPr/>
              </a:pPr>
              <a:t>36</a:t>
            </a:fld>
            <a:endParaRPr lang="en-US" sz="784"/>
          </a:p>
        </p:txBody>
      </p:sp>
      <p:grpSp>
        <p:nvGrpSpPr>
          <p:cNvPr id="74" name="Group 59"/>
          <p:cNvGrpSpPr/>
          <p:nvPr/>
        </p:nvGrpSpPr>
        <p:grpSpPr>
          <a:xfrm>
            <a:off x="8116135" y="3539643"/>
            <a:ext cx="3511398" cy="373457"/>
            <a:chOff x="4648200" y="3408803"/>
            <a:chExt cx="3133741" cy="381000"/>
          </a:xfrm>
        </p:grpSpPr>
        <p:sp>
          <p:nvSpPr>
            <p:cNvPr id="75" name="Rectangle 74"/>
            <p:cNvSpPr/>
            <p:nvPr/>
          </p:nvSpPr>
          <p:spPr>
            <a:xfrm>
              <a:off x="4648200" y="3408803"/>
              <a:ext cx="138812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endParaRPr lang="en-US" sz="1765" kern="0">
                <a:solidFill>
                  <a:prstClr val="black"/>
                </a:solidFill>
                <a:latin typeface="Segoe UI Light" panose="020B0502040204020203" pitchFamily="34" charset="0"/>
                <a:cs typeface="Segoe UI Light" panose="020B0502040204020203" pitchFamily="34" charset="0"/>
              </a:endParaRPr>
            </a:p>
          </p:txBody>
        </p:sp>
        <p:sp>
          <p:nvSpPr>
            <p:cNvPr id="76" name="Rectangle 75"/>
            <p:cNvSpPr/>
            <p:nvPr/>
          </p:nvSpPr>
          <p:spPr>
            <a:xfrm>
              <a:off x="6036328" y="3408803"/>
              <a:ext cx="1745613"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endParaRPr lang="en-US" sz="1765" kern="0">
                <a:solidFill>
                  <a:prstClr val="black"/>
                </a:solidFill>
                <a:latin typeface="Segoe UI Light" panose="020B0502040204020203" pitchFamily="34" charset="0"/>
                <a:cs typeface="Segoe UI Light" panose="020B0502040204020203" pitchFamily="34" charset="0"/>
              </a:endParaRPr>
            </a:p>
          </p:txBody>
        </p:sp>
      </p:grpSp>
      <p:grpSp>
        <p:nvGrpSpPr>
          <p:cNvPr id="77" name="Group 58"/>
          <p:cNvGrpSpPr/>
          <p:nvPr/>
        </p:nvGrpSpPr>
        <p:grpSpPr>
          <a:xfrm>
            <a:off x="8116133" y="3552353"/>
            <a:ext cx="3511399" cy="373457"/>
            <a:chOff x="8088630" y="3408803"/>
            <a:chExt cx="3133742" cy="381000"/>
          </a:xfrm>
        </p:grpSpPr>
        <p:sp>
          <p:nvSpPr>
            <p:cNvPr id="78" name="Rectangle 77"/>
            <p:cNvSpPr/>
            <p:nvPr/>
          </p:nvSpPr>
          <p:spPr>
            <a:xfrm>
              <a:off x="8088630" y="3408803"/>
              <a:ext cx="138812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0000"/>
                  </a:solidFill>
                  <a:latin typeface="Segoe UI Light" panose="020B0502040204020203" pitchFamily="34" charset="0"/>
                  <a:cs typeface="Segoe UI Light" panose="020B0502040204020203" pitchFamily="34" charset="0"/>
                </a:rPr>
                <a:t>session_id 60</a:t>
              </a:r>
            </a:p>
          </p:txBody>
        </p:sp>
        <p:sp>
          <p:nvSpPr>
            <p:cNvPr id="79" name="Rectangle 78"/>
            <p:cNvSpPr/>
            <p:nvPr/>
          </p:nvSpPr>
          <p:spPr>
            <a:xfrm>
              <a:off x="9476758" y="3408803"/>
              <a:ext cx="1745614"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0000"/>
                  </a:solidFill>
                  <a:latin typeface="Segoe UI Light" panose="020B0502040204020203" pitchFamily="34" charset="0"/>
                  <a:cs typeface="Segoe UI Light" panose="020B0502040204020203" pitchFamily="34" charset="0"/>
                </a:rPr>
                <a:t>IO_Completion</a:t>
              </a:r>
            </a:p>
          </p:txBody>
        </p:sp>
      </p:grpSp>
      <p:sp>
        <p:nvSpPr>
          <p:cNvPr id="80" name="Rectangle 95"/>
          <p:cNvSpPr>
            <a:spLocks noChangeArrowheads="1"/>
          </p:cNvSpPr>
          <p:nvPr/>
        </p:nvSpPr>
        <p:spPr bwMode="auto">
          <a:xfrm>
            <a:off x="4382461" y="1094621"/>
            <a:ext cx="3510500" cy="369279"/>
          </a:xfrm>
          <a:prstGeom prst="rect">
            <a:avLst/>
          </a:prstGeom>
          <a:noFill/>
          <a:ln w="9525" algn="ctr">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Running</a:t>
            </a:r>
          </a:p>
        </p:txBody>
      </p:sp>
      <p:sp>
        <p:nvSpPr>
          <p:cNvPr id="81" name="Rectangle 166"/>
          <p:cNvSpPr>
            <a:spLocks noChangeArrowheads="1"/>
          </p:cNvSpPr>
          <p:nvPr/>
        </p:nvSpPr>
        <p:spPr bwMode="auto">
          <a:xfrm>
            <a:off x="4382461" y="2925905"/>
            <a:ext cx="3510500" cy="646240"/>
          </a:xfrm>
          <a:prstGeom prst="rect">
            <a:avLst/>
          </a:prstGeom>
          <a:noFill/>
          <a:ln w="9525">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Runnable Queue (Signal Waits)</a:t>
            </a:r>
          </a:p>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Runnable</a:t>
            </a:r>
          </a:p>
        </p:txBody>
      </p:sp>
      <p:sp>
        <p:nvSpPr>
          <p:cNvPr id="82" name="Rectangle 167"/>
          <p:cNvSpPr>
            <a:spLocks noChangeArrowheads="1"/>
          </p:cNvSpPr>
          <p:nvPr/>
        </p:nvSpPr>
        <p:spPr bwMode="auto">
          <a:xfrm>
            <a:off x="8116134" y="1432075"/>
            <a:ext cx="3511398" cy="646240"/>
          </a:xfrm>
          <a:prstGeom prst="rect">
            <a:avLst/>
          </a:prstGeom>
          <a:noFill/>
          <a:ln w="9525">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Wait Queue (Resource Waits)</a:t>
            </a:r>
          </a:p>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Suspended</a:t>
            </a:r>
          </a:p>
        </p:txBody>
      </p:sp>
      <p:sp>
        <p:nvSpPr>
          <p:cNvPr id="83" name="Rectangle 82"/>
          <p:cNvSpPr/>
          <p:nvPr/>
        </p:nvSpPr>
        <p:spPr>
          <a:xfrm>
            <a:off x="8116135" y="2065610"/>
            <a:ext cx="1555415" cy="373457"/>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73</a:t>
            </a:r>
          </a:p>
        </p:txBody>
      </p:sp>
      <p:sp>
        <p:nvSpPr>
          <p:cNvPr id="84" name="Rectangle 83"/>
          <p:cNvSpPr/>
          <p:nvPr/>
        </p:nvSpPr>
        <p:spPr>
          <a:xfrm>
            <a:off x="9671549" y="2065610"/>
            <a:ext cx="1955984" cy="373457"/>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dirty="0">
                <a:solidFill>
                  <a:prstClr val="black"/>
                </a:solidFill>
                <a:latin typeface="Segoe UI Light" panose="020B0502040204020203" pitchFamily="34" charset="0"/>
                <a:cs typeface="Segoe UI Light" panose="020B0502040204020203" pitchFamily="34" charset="0"/>
              </a:rPr>
              <a:t>LCK_M_S</a:t>
            </a:r>
          </a:p>
        </p:txBody>
      </p:sp>
      <p:sp>
        <p:nvSpPr>
          <p:cNvPr id="85" name="Rectangle 84"/>
          <p:cNvSpPr/>
          <p:nvPr/>
        </p:nvSpPr>
        <p:spPr>
          <a:xfrm>
            <a:off x="8116133" y="2432364"/>
            <a:ext cx="1555416" cy="380161"/>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9</a:t>
            </a:r>
          </a:p>
        </p:txBody>
      </p:sp>
      <p:sp>
        <p:nvSpPr>
          <p:cNvPr id="86" name="Rectangle 85"/>
          <p:cNvSpPr/>
          <p:nvPr/>
        </p:nvSpPr>
        <p:spPr>
          <a:xfrm>
            <a:off x="9671551" y="2430069"/>
            <a:ext cx="1955983" cy="382456"/>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NETWORKIO</a:t>
            </a:r>
          </a:p>
        </p:txBody>
      </p:sp>
      <p:grpSp>
        <p:nvGrpSpPr>
          <p:cNvPr id="87" name="Group 52"/>
          <p:cNvGrpSpPr/>
          <p:nvPr/>
        </p:nvGrpSpPr>
        <p:grpSpPr>
          <a:xfrm>
            <a:off x="8116134" y="2812526"/>
            <a:ext cx="3511399" cy="373457"/>
            <a:chOff x="4648200" y="2662410"/>
            <a:chExt cx="3200400" cy="381000"/>
          </a:xfrm>
        </p:grpSpPr>
        <p:sp>
          <p:nvSpPr>
            <p:cNvPr id="88" name="Rectangle 87"/>
            <p:cNvSpPr/>
            <p:nvPr/>
          </p:nvSpPr>
          <p:spPr>
            <a:xfrm>
              <a:off x="4648200" y="2662410"/>
              <a:ext cx="1417655"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6</a:t>
              </a:r>
            </a:p>
          </p:txBody>
        </p:sp>
        <p:sp>
          <p:nvSpPr>
            <p:cNvPr id="89" name="Rectangle 88"/>
            <p:cNvSpPr/>
            <p:nvPr/>
          </p:nvSpPr>
          <p:spPr>
            <a:xfrm>
              <a:off x="6065855" y="2662410"/>
              <a:ext cx="1782745"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3333CC"/>
                  </a:solidFill>
                  <a:latin typeface="Segoe UI Light" panose="020B0502040204020203" pitchFamily="34" charset="0"/>
                  <a:cs typeface="Segoe UI Light" panose="020B0502040204020203" pitchFamily="34" charset="0"/>
                </a:rPr>
                <a:t>CXPACKET</a:t>
              </a:r>
            </a:p>
          </p:txBody>
        </p:sp>
      </p:grpSp>
      <p:grpSp>
        <p:nvGrpSpPr>
          <p:cNvPr id="90" name="Group 89"/>
          <p:cNvGrpSpPr/>
          <p:nvPr/>
        </p:nvGrpSpPr>
        <p:grpSpPr>
          <a:xfrm>
            <a:off x="8116134" y="3176984"/>
            <a:ext cx="3511399" cy="373457"/>
            <a:chOff x="7729576" y="4331924"/>
            <a:chExt cx="3582318" cy="381000"/>
          </a:xfrm>
        </p:grpSpPr>
        <p:sp>
          <p:nvSpPr>
            <p:cNvPr id="91" name="Rectangle 90"/>
            <p:cNvSpPr/>
            <p:nvPr/>
          </p:nvSpPr>
          <p:spPr>
            <a:xfrm>
              <a:off x="7729576" y="4331924"/>
              <a:ext cx="1586830"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5</a:t>
              </a:r>
            </a:p>
          </p:txBody>
        </p:sp>
        <p:sp>
          <p:nvSpPr>
            <p:cNvPr id="92" name="Rectangle 91"/>
            <p:cNvSpPr/>
            <p:nvPr/>
          </p:nvSpPr>
          <p:spPr>
            <a:xfrm>
              <a:off x="9316406" y="4331924"/>
              <a:ext cx="199548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300" kern="0">
                  <a:solidFill>
                    <a:prstClr val="black"/>
                  </a:solidFill>
                  <a:latin typeface="Segoe UI Light" panose="020B0502040204020203" pitchFamily="34" charset="0"/>
                  <a:cs typeface="Segoe UI Light" panose="020B0502040204020203" pitchFamily="34" charset="0"/>
                </a:rPr>
                <a:t>RESOURCE_SEMAPHORE</a:t>
              </a:r>
            </a:p>
          </p:txBody>
        </p:sp>
      </p:grpSp>
      <p:grpSp>
        <p:nvGrpSpPr>
          <p:cNvPr id="93" name="Group 47"/>
          <p:cNvGrpSpPr/>
          <p:nvPr/>
        </p:nvGrpSpPr>
        <p:grpSpPr>
          <a:xfrm>
            <a:off x="4382460" y="3509746"/>
            <a:ext cx="3510499" cy="374046"/>
            <a:chOff x="1142081" y="3766851"/>
            <a:chExt cx="3201317" cy="381600"/>
          </a:xfrm>
        </p:grpSpPr>
        <p:sp>
          <p:nvSpPr>
            <p:cNvPr id="94" name="Rectangle 93"/>
            <p:cNvSpPr/>
            <p:nvPr/>
          </p:nvSpPr>
          <p:spPr>
            <a:xfrm>
              <a:off x="1142081" y="376685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1</a:t>
              </a:r>
            </a:p>
          </p:txBody>
        </p:sp>
        <p:sp>
          <p:nvSpPr>
            <p:cNvPr id="95" name="Rectangle 94"/>
            <p:cNvSpPr/>
            <p:nvPr/>
          </p:nvSpPr>
          <p:spPr>
            <a:xfrm>
              <a:off x="2559685" y="3766851"/>
              <a:ext cx="1783713" cy="3816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96" name="Group 48"/>
          <p:cNvGrpSpPr/>
          <p:nvPr/>
        </p:nvGrpSpPr>
        <p:grpSpPr>
          <a:xfrm>
            <a:off x="4382460" y="3882503"/>
            <a:ext cx="3510499" cy="1469533"/>
            <a:chOff x="1142081" y="4152442"/>
            <a:chExt cx="3201317" cy="1499212"/>
          </a:xfrm>
        </p:grpSpPr>
        <p:sp>
          <p:nvSpPr>
            <p:cNvPr id="97" name="Rectangle 96"/>
            <p:cNvSpPr/>
            <p:nvPr/>
          </p:nvSpPr>
          <p:spPr>
            <a:xfrm>
              <a:off x="1142081" y="4152442"/>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64</a:t>
              </a:r>
            </a:p>
          </p:txBody>
        </p:sp>
        <p:sp>
          <p:nvSpPr>
            <p:cNvPr id="98" name="Rectangle 97"/>
            <p:cNvSpPr/>
            <p:nvPr/>
          </p:nvSpPr>
          <p:spPr>
            <a:xfrm>
              <a:off x="2559685" y="4152442"/>
              <a:ext cx="1783713" cy="376409"/>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99" name="Rectangle 98"/>
            <p:cNvSpPr/>
            <p:nvPr/>
          </p:nvSpPr>
          <p:spPr>
            <a:xfrm>
              <a:off x="1142081" y="452426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87</a:t>
              </a:r>
            </a:p>
          </p:txBody>
        </p:sp>
        <p:sp>
          <p:nvSpPr>
            <p:cNvPr id="100" name="Rectangle 99"/>
            <p:cNvSpPr/>
            <p:nvPr/>
          </p:nvSpPr>
          <p:spPr>
            <a:xfrm>
              <a:off x="2559685" y="4524261"/>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101" name="Rectangle 100"/>
            <p:cNvSpPr/>
            <p:nvPr/>
          </p:nvSpPr>
          <p:spPr>
            <a:xfrm>
              <a:off x="1142081" y="490067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2</a:t>
              </a:r>
            </a:p>
          </p:txBody>
        </p:sp>
        <p:sp>
          <p:nvSpPr>
            <p:cNvPr id="102" name="Rectangle 101"/>
            <p:cNvSpPr/>
            <p:nvPr/>
          </p:nvSpPr>
          <p:spPr>
            <a:xfrm>
              <a:off x="2559685" y="4900671"/>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103" name="Rectangle 102"/>
            <p:cNvSpPr/>
            <p:nvPr/>
          </p:nvSpPr>
          <p:spPr>
            <a:xfrm>
              <a:off x="1142081" y="5270654"/>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93</a:t>
              </a:r>
            </a:p>
          </p:txBody>
        </p:sp>
        <p:sp>
          <p:nvSpPr>
            <p:cNvPr id="104" name="Rectangle 103"/>
            <p:cNvSpPr/>
            <p:nvPr/>
          </p:nvSpPr>
          <p:spPr>
            <a:xfrm>
              <a:off x="2559685" y="5270654"/>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105" name="Group 46"/>
          <p:cNvGrpSpPr/>
          <p:nvPr/>
        </p:nvGrpSpPr>
        <p:grpSpPr>
          <a:xfrm>
            <a:off x="4382462" y="1468078"/>
            <a:ext cx="3510496" cy="373457"/>
            <a:chOff x="1142081" y="1752600"/>
            <a:chExt cx="3581397" cy="381000"/>
          </a:xfrm>
        </p:grpSpPr>
        <p:sp>
          <p:nvSpPr>
            <p:cNvPr id="106" name="Rectangle 105"/>
            <p:cNvSpPr/>
            <p:nvPr/>
          </p:nvSpPr>
          <p:spPr>
            <a:xfrm>
              <a:off x="1142081" y="1752600"/>
              <a:ext cx="158492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60</a:t>
              </a:r>
            </a:p>
          </p:txBody>
        </p:sp>
        <p:sp>
          <p:nvSpPr>
            <p:cNvPr id="107" name="Rectangle 106"/>
            <p:cNvSpPr/>
            <p:nvPr/>
          </p:nvSpPr>
          <p:spPr>
            <a:xfrm>
              <a:off x="2728982" y="1752600"/>
              <a:ext cx="1994496"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ing</a:t>
              </a:r>
            </a:p>
          </p:txBody>
        </p:sp>
      </p:grpSp>
      <p:grpSp>
        <p:nvGrpSpPr>
          <p:cNvPr id="108" name="Group 49"/>
          <p:cNvGrpSpPr/>
          <p:nvPr/>
        </p:nvGrpSpPr>
        <p:grpSpPr>
          <a:xfrm>
            <a:off x="4382461" y="1470329"/>
            <a:ext cx="3510498" cy="373457"/>
            <a:chOff x="1142080" y="3766851"/>
            <a:chExt cx="3201318" cy="381000"/>
          </a:xfrm>
        </p:grpSpPr>
        <p:sp>
          <p:nvSpPr>
            <p:cNvPr id="109" name="Rectangle 108"/>
            <p:cNvSpPr/>
            <p:nvPr/>
          </p:nvSpPr>
          <p:spPr>
            <a:xfrm>
              <a:off x="1142080" y="3766851"/>
              <a:ext cx="141672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session_id 51</a:t>
              </a:r>
            </a:p>
          </p:txBody>
        </p:sp>
        <p:sp>
          <p:nvSpPr>
            <p:cNvPr id="110" name="Rectangle 109"/>
            <p:cNvSpPr/>
            <p:nvPr/>
          </p:nvSpPr>
          <p:spPr>
            <a:xfrm>
              <a:off x="2559686" y="3766851"/>
              <a:ext cx="178371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Runnable</a:t>
              </a:r>
            </a:p>
          </p:txBody>
        </p:sp>
      </p:grpSp>
      <p:grpSp>
        <p:nvGrpSpPr>
          <p:cNvPr id="111" name="Group 53"/>
          <p:cNvGrpSpPr/>
          <p:nvPr/>
        </p:nvGrpSpPr>
        <p:grpSpPr>
          <a:xfrm>
            <a:off x="4382461" y="1470329"/>
            <a:ext cx="3510498" cy="373457"/>
            <a:chOff x="1142081" y="1739747"/>
            <a:chExt cx="3201316" cy="381000"/>
          </a:xfrm>
        </p:grpSpPr>
        <p:sp>
          <p:nvSpPr>
            <p:cNvPr id="112" name="Rectangle 111"/>
            <p:cNvSpPr/>
            <p:nvPr/>
          </p:nvSpPr>
          <p:spPr>
            <a:xfrm>
              <a:off x="1142081" y="1739747"/>
              <a:ext cx="1418489"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60</a:t>
              </a:r>
            </a:p>
          </p:txBody>
        </p:sp>
        <p:sp>
          <p:nvSpPr>
            <p:cNvPr id="113" name="Rectangle 112"/>
            <p:cNvSpPr/>
            <p:nvPr/>
          </p:nvSpPr>
          <p:spPr>
            <a:xfrm>
              <a:off x="2560570" y="1739747"/>
              <a:ext cx="1782827"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IO_Completion</a:t>
              </a:r>
            </a:p>
          </p:txBody>
        </p:sp>
      </p:grpSp>
      <p:grpSp>
        <p:nvGrpSpPr>
          <p:cNvPr id="114" name="Group 61"/>
          <p:cNvGrpSpPr/>
          <p:nvPr/>
        </p:nvGrpSpPr>
        <p:grpSpPr>
          <a:xfrm>
            <a:off x="4383432" y="1470330"/>
            <a:ext cx="3510495" cy="382411"/>
            <a:chOff x="1142081" y="3766851"/>
            <a:chExt cx="3581396" cy="381000"/>
          </a:xfrm>
        </p:grpSpPr>
        <p:sp>
          <p:nvSpPr>
            <p:cNvPr id="115" name="Rectangle 114"/>
            <p:cNvSpPr/>
            <p:nvPr/>
          </p:nvSpPr>
          <p:spPr>
            <a:xfrm>
              <a:off x="1142081" y="3766851"/>
              <a:ext cx="1585909"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1</a:t>
              </a:r>
            </a:p>
          </p:txBody>
        </p:sp>
        <p:sp>
          <p:nvSpPr>
            <p:cNvPr id="116" name="Rectangle 115"/>
            <p:cNvSpPr/>
            <p:nvPr/>
          </p:nvSpPr>
          <p:spPr>
            <a:xfrm>
              <a:off x="2727992" y="3766851"/>
              <a:ext cx="1995485"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117" name="Group 67"/>
          <p:cNvGrpSpPr/>
          <p:nvPr/>
        </p:nvGrpSpPr>
        <p:grpSpPr>
          <a:xfrm>
            <a:off x="8116133" y="2813661"/>
            <a:ext cx="3511399" cy="373457"/>
            <a:chOff x="4648200" y="2662410"/>
            <a:chExt cx="3133742" cy="381000"/>
          </a:xfrm>
        </p:grpSpPr>
        <p:sp>
          <p:nvSpPr>
            <p:cNvPr id="118" name="Rectangle 117"/>
            <p:cNvSpPr/>
            <p:nvPr/>
          </p:nvSpPr>
          <p:spPr>
            <a:xfrm>
              <a:off x="4648200" y="2662410"/>
              <a:ext cx="1388127"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56</a:t>
              </a:r>
            </a:p>
          </p:txBody>
        </p:sp>
        <p:sp>
          <p:nvSpPr>
            <p:cNvPr id="119" name="Rectangle 118"/>
            <p:cNvSpPr/>
            <p:nvPr/>
          </p:nvSpPr>
          <p:spPr>
            <a:xfrm>
              <a:off x="6036328" y="2662410"/>
              <a:ext cx="1745614"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Runnable</a:t>
              </a:r>
            </a:p>
          </p:txBody>
        </p:sp>
      </p:grpSp>
      <p:grpSp>
        <p:nvGrpSpPr>
          <p:cNvPr id="120" name="Group 75"/>
          <p:cNvGrpSpPr/>
          <p:nvPr/>
        </p:nvGrpSpPr>
        <p:grpSpPr>
          <a:xfrm>
            <a:off x="8431672" y="2837717"/>
            <a:ext cx="2464818" cy="334769"/>
            <a:chOff x="8077200" y="3581400"/>
            <a:chExt cx="2667000" cy="609600"/>
          </a:xfrm>
        </p:grpSpPr>
        <p:cxnSp>
          <p:nvCxnSpPr>
            <p:cNvPr id="121" name="Straight Connector 120"/>
            <p:cNvCxnSpPr/>
            <p:nvPr/>
          </p:nvCxnSpPr>
          <p:spPr>
            <a:xfrm>
              <a:off x="8077200" y="3581400"/>
              <a:ext cx="2667000" cy="609600"/>
            </a:xfrm>
            <a:prstGeom prst="line">
              <a:avLst/>
            </a:prstGeom>
            <a:noFill/>
            <a:ln w="38100" cap="flat" cmpd="sng" algn="ctr">
              <a:solidFill>
                <a:srgbClr val="FF0000"/>
              </a:solidFill>
              <a:prstDash val="solid"/>
            </a:ln>
            <a:effectLst/>
          </p:spPr>
        </p:cxnSp>
        <p:cxnSp>
          <p:nvCxnSpPr>
            <p:cNvPr id="122" name="Straight Connector 121"/>
            <p:cNvCxnSpPr/>
            <p:nvPr/>
          </p:nvCxnSpPr>
          <p:spPr>
            <a:xfrm flipH="1">
              <a:off x="8077200" y="3581400"/>
              <a:ext cx="2667000" cy="609600"/>
            </a:xfrm>
            <a:prstGeom prst="line">
              <a:avLst/>
            </a:prstGeom>
            <a:noFill/>
            <a:ln w="38100" cap="flat" cmpd="sng" algn="ctr">
              <a:solidFill>
                <a:srgbClr val="FF0000"/>
              </a:solidFill>
              <a:prstDash val="solid"/>
            </a:ln>
            <a:effectLst/>
          </p:spPr>
        </p:cxnSp>
      </p:grpSp>
      <p:grpSp>
        <p:nvGrpSpPr>
          <p:cNvPr id="123" name="Group 76"/>
          <p:cNvGrpSpPr/>
          <p:nvPr/>
        </p:nvGrpSpPr>
        <p:grpSpPr>
          <a:xfrm>
            <a:off x="4382459" y="4978578"/>
            <a:ext cx="3510497" cy="373457"/>
            <a:chOff x="1142080" y="3766851"/>
            <a:chExt cx="3201318" cy="381000"/>
          </a:xfrm>
        </p:grpSpPr>
        <p:sp>
          <p:nvSpPr>
            <p:cNvPr id="124" name="Rectangle 123"/>
            <p:cNvSpPr/>
            <p:nvPr/>
          </p:nvSpPr>
          <p:spPr>
            <a:xfrm>
              <a:off x="1142080" y="3766851"/>
              <a:ext cx="1417606"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56</a:t>
              </a:r>
            </a:p>
          </p:txBody>
        </p:sp>
        <p:sp>
          <p:nvSpPr>
            <p:cNvPr id="125" name="Rectangle 124"/>
            <p:cNvSpPr/>
            <p:nvPr/>
          </p:nvSpPr>
          <p:spPr>
            <a:xfrm>
              <a:off x="2559686" y="3766851"/>
              <a:ext cx="178371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Runnable</a:t>
              </a:r>
            </a:p>
          </p:txBody>
        </p:sp>
      </p:grpSp>
      <p:grpSp>
        <p:nvGrpSpPr>
          <p:cNvPr id="126" name="Group 82"/>
          <p:cNvGrpSpPr/>
          <p:nvPr/>
        </p:nvGrpSpPr>
        <p:grpSpPr>
          <a:xfrm>
            <a:off x="4381494" y="1470331"/>
            <a:ext cx="3510497" cy="391411"/>
            <a:chOff x="1142081" y="3764555"/>
            <a:chExt cx="3200399" cy="383296"/>
          </a:xfrm>
        </p:grpSpPr>
        <p:sp>
          <p:nvSpPr>
            <p:cNvPr id="127" name="Rectangle 126"/>
            <p:cNvSpPr/>
            <p:nvPr/>
          </p:nvSpPr>
          <p:spPr>
            <a:xfrm>
              <a:off x="1142081" y="3764555"/>
              <a:ext cx="1424826" cy="383296"/>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session_id 51</a:t>
              </a:r>
            </a:p>
          </p:txBody>
        </p:sp>
        <p:sp>
          <p:nvSpPr>
            <p:cNvPr id="128" name="Rectangle 127"/>
            <p:cNvSpPr/>
            <p:nvPr/>
          </p:nvSpPr>
          <p:spPr>
            <a:xfrm>
              <a:off x="2559275" y="3764555"/>
              <a:ext cx="1783205" cy="383296"/>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Running</a:t>
              </a:r>
            </a:p>
          </p:txBody>
        </p:sp>
      </p:grpSp>
      <p:grpSp>
        <p:nvGrpSpPr>
          <p:cNvPr id="129" name="Group 79"/>
          <p:cNvGrpSpPr/>
          <p:nvPr/>
        </p:nvGrpSpPr>
        <p:grpSpPr>
          <a:xfrm>
            <a:off x="4382460" y="4978578"/>
            <a:ext cx="3510499" cy="373457"/>
            <a:chOff x="1142081" y="3766851"/>
            <a:chExt cx="3200400" cy="381000"/>
          </a:xfrm>
        </p:grpSpPr>
        <p:sp>
          <p:nvSpPr>
            <p:cNvPr id="130" name="Rectangle 129"/>
            <p:cNvSpPr/>
            <p:nvPr/>
          </p:nvSpPr>
          <p:spPr>
            <a:xfrm>
              <a:off x="1142081" y="3766851"/>
              <a:ext cx="1417198"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6</a:t>
              </a:r>
            </a:p>
          </p:txBody>
        </p:sp>
        <p:sp>
          <p:nvSpPr>
            <p:cNvPr id="131" name="Rectangle 130"/>
            <p:cNvSpPr/>
            <p:nvPr/>
          </p:nvSpPr>
          <p:spPr>
            <a:xfrm>
              <a:off x="2559279" y="3766851"/>
              <a:ext cx="178320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sp>
        <p:nvSpPr>
          <p:cNvPr id="132" name="Rectangle 131"/>
          <p:cNvSpPr/>
          <p:nvPr/>
        </p:nvSpPr>
        <p:spPr>
          <a:xfrm>
            <a:off x="635956" y="3516719"/>
            <a:ext cx="3492556" cy="1835319"/>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0 needs a page not in cache. Thus its status changes from Running to Suspended with wait type IO_Completion.</a:t>
            </a:r>
            <a:endParaRPr lang="pt-PT" sz="1765" kern="0">
              <a:solidFill>
                <a:srgbClr val="000000"/>
              </a:solidFill>
              <a:latin typeface="Segoe UI Light" panose="020B0502040204020203" pitchFamily="34" charset="0"/>
              <a:cs typeface="Segoe UI Light" panose="020B0502040204020203" pitchFamily="34" charset="0"/>
            </a:endParaRPr>
          </a:p>
        </p:txBody>
      </p:sp>
      <p:sp>
        <p:nvSpPr>
          <p:cNvPr id="133" name="Rectangle 132"/>
          <p:cNvSpPr/>
          <p:nvPr/>
        </p:nvSpPr>
        <p:spPr>
          <a:xfrm>
            <a:off x="635956" y="3516718"/>
            <a:ext cx="3492555" cy="1841512"/>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0 moved to the Waiter List.</a:t>
            </a:r>
            <a:endParaRPr lang="pt-PT" sz="1765" kern="0">
              <a:solidFill>
                <a:srgbClr val="000000"/>
              </a:solidFill>
              <a:latin typeface="Segoe UI Light" panose="020B0502040204020203" pitchFamily="34" charset="0"/>
              <a:cs typeface="Segoe UI Light" panose="020B0502040204020203" pitchFamily="34" charset="0"/>
            </a:endParaRPr>
          </a:p>
        </p:txBody>
      </p:sp>
      <p:sp>
        <p:nvSpPr>
          <p:cNvPr id="134" name="Rectangle 133"/>
          <p:cNvSpPr/>
          <p:nvPr/>
        </p:nvSpPr>
        <p:spPr>
          <a:xfrm>
            <a:off x="635956" y="3516718"/>
            <a:ext cx="3492555" cy="1841512"/>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1 moves from Runnable queue with a Runnable status to Running status.</a:t>
            </a:r>
          </a:p>
        </p:txBody>
      </p:sp>
      <p:sp>
        <p:nvSpPr>
          <p:cNvPr id="135" name="Rectangle 134"/>
          <p:cNvSpPr/>
          <p:nvPr/>
        </p:nvSpPr>
        <p:spPr>
          <a:xfrm>
            <a:off x="635963" y="3518598"/>
            <a:ext cx="3492553" cy="1847937"/>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4 then moves to the top of the Runnable queue.</a:t>
            </a:r>
          </a:p>
        </p:txBody>
      </p:sp>
      <p:sp>
        <p:nvSpPr>
          <p:cNvPr id="136" name="Rectangle 135"/>
          <p:cNvSpPr/>
          <p:nvPr/>
        </p:nvSpPr>
        <p:spPr>
          <a:xfrm>
            <a:off x="635958" y="3518599"/>
            <a:ext cx="3492560" cy="1845614"/>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6 is waiting for a parallel process to complete. When the parallel process is completed, the status for SPID56 changes from Suspended with wait type CXPACKET to Runnable.</a:t>
            </a:r>
          </a:p>
        </p:txBody>
      </p:sp>
      <p:sp>
        <p:nvSpPr>
          <p:cNvPr id="137" name="Rectangle 136"/>
          <p:cNvSpPr/>
          <p:nvPr/>
        </p:nvSpPr>
        <p:spPr>
          <a:xfrm>
            <a:off x="635950" y="3504542"/>
            <a:ext cx="3492558" cy="1835319"/>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6 moved to the bottom of the Runnable queue.</a:t>
            </a:r>
          </a:p>
        </p:txBody>
      </p:sp>
      <p:sp>
        <p:nvSpPr>
          <p:cNvPr id="138" name="Explosion 1 137"/>
          <p:cNvSpPr/>
          <p:nvPr/>
        </p:nvSpPr>
        <p:spPr>
          <a:xfrm>
            <a:off x="8985292" y="4001907"/>
            <a:ext cx="2315436" cy="1421849"/>
          </a:xfrm>
          <a:prstGeom prst="irregularSeal1">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07">
              <a:defRPr/>
            </a:pPr>
            <a:r>
              <a:rPr lang="en-US" sz="1765" b="1" kern="0">
                <a:solidFill>
                  <a:prstClr val="white"/>
                </a:solidFill>
                <a:latin typeface="Segoe UI Light" panose="020B0502040204020203" pitchFamily="34" charset="0"/>
                <a:cs typeface="Segoe UI Light" panose="020B0502040204020203" pitchFamily="34" charset="0"/>
              </a:rPr>
              <a:t>Unordered List</a:t>
            </a:r>
            <a:endParaRPr lang="pt-PT" sz="1765" b="1" kern="0">
              <a:solidFill>
                <a:prstClr val="white"/>
              </a:solidFill>
              <a:latin typeface="Segoe UI Light" panose="020B0502040204020203" pitchFamily="34" charset="0"/>
              <a:cs typeface="Segoe UI Light" panose="020B0502040204020203" pitchFamily="34" charset="0"/>
            </a:endParaRPr>
          </a:p>
        </p:txBody>
      </p:sp>
      <p:sp>
        <p:nvSpPr>
          <p:cNvPr id="139" name="Explosion 1 138"/>
          <p:cNvSpPr/>
          <p:nvPr/>
        </p:nvSpPr>
        <p:spPr>
          <a:xfrm>
            <a:off x="3064218" y="2012769"/>
            <a:ext cx="2315436" cy="1190586"/>
          </a:xfrm>
          <a:prstGeom prst="irregularSeal1">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07">
              <a:defRPr/>
            </a:pPr>
            <a:r>
              <a:rPr lang="en-US" sz="1765" b="1" kern="0">
                <a:solidFill>
                  <a:prstClr val="white"/>
                </a:solidFill>
                <a:latin typeface="Segoe UI Light" panose="020B0502040204020203" pitchFamily="34" charset="0"/>
                <a:cs typeface="Segoe UI Light" panose="020B0502040204020203" pitchFamily="34" charset="0"/>
              </a:rPr>
              <a:t>FIFO List</a:t>
            </a:r>
            <a:endParaRPr lang="pt-PT" sz="1765" b="1" kern="0">
              <a:solidFill>
                <a:prstClr val="white"/>
              </a:solidFill>
              <a:latin typeface="Segoe UI Light" panose="020B0502040204020203" pitchFamily="34" charset="0"/>
              <a:cs typeface="Segoe UI Light" panose="020B0502040204020203" pitchFamily="34" charset="0"/>
            </a:endParaRPr>
          </a:p>
        </p:txBody>
      </p:sp>
    </p:spTree>
    <p:custDataLst>
      <p:tags r:id="rId1"/>
    </p:custDataLst>
    <p:extLst>
      <p:ext uri="{BB962C8B-B14F-4D97-AF65-F5344CB8AC3E}">
        <p14:creationId xmlns:p14="http://schemas.microsoft.com/office/powerpoint/2010/main" val="283636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1000"/>
                                        <p:tgtEl>
                                          <p:spTgt spid="111"/>
                                        </p:tgtEl>
                                      </p:cBhvr>
                                    </p:animEffect>
                                  </p:childTnLst>
                                </p:cTn>
                              </p:par>
                              <p:par>
                                <p:cTn id="8" presetID="10" presetClass="exit" presetSubtype="0" fill="hold" nodeType="withEffect">
                                  <p:stCondLst>
                                    <p:cond delay="0"/>
                                  </p:stCondLst>
                                  <p:childTnLst>
                                    <p:animEffect transition="out" filter="fade">
                                      <p:cBhvr>
                                        <p:cTn id="9" dur="2000"/>
                                        <p:tgtEl>
                                          <p:spTgt spid="105"/>
                                        </p:tgtEl>
                                      </p:cBhvr>
                                    </p:animEffect>
                                    <p:set>
                                      <p:cBhvr>
                                        <p:cTn id="10" dur="1" fill="hold">
                                          <p:stCondLst>
                                            <p:cond delay="1999"/>
                                          </p:stCondLst>
                                        </p:cTn>
                                        <p:tgtEl>
                                          <p:spTgt spid="10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0" presetClass="path" presetSubtype="0" accel="50000" decel="50000" fill="hold" nodeType="clickEffect">
                                  <p:stCondLst>
                                    <p:cond delay="0"/>
                                  </p:stCondLst>
                                  <p:childTnLst>
                                    <p:animMotion origin="layout" path="M 1.875E-6 4.81481E-6 L 0.30599 0.30324 " pathEditMode="relative" rAng="0" ptsTypes="AA">
                                      <p:cBhvr>
                                        <p:cTn id="16" dur="2000" fill="hold"/>
                                        <p:tgtEl>
                                          <p:spTgt spid="111"/>
                                        </p:tgtEl>
                                        <p:attrNameLst>
                                          <p:attrName>ppt_x</p:attrName>
                                          <p:attrName>ppt_y</p:attrName>
                                        </p:attrNameLst>
                                      </p:cBhvr>
                                      <p:rCtr x="15208" y="14838"/>
                                    </p:animMotion>
                                  </p:childTnLst>
                                </p:cTn>
                              </p:par>
                              <p:par>
                                <p:cTn id="17" presetID="1" presetClass="entr" presetSubtype="0" fill="hold" grpId="0" nodeType="withEffect">
                                  <p:stCondLst>
                                    <p:cond delay="0"/>
                                  </p:stCondLst>
                                  <p:childTnLst>
                                    <p:set>
                                      <p:cBhvr>
                                        <p:cTn id="18" dur="1" fill="hold">
                                          <p:stCondLst>
                                            <p:cond delay="0"/>
                                          </p:stCondLst>
                                        </p:cTn>
                                        <p:tgtEl>
                                          <p:spTgt spid="133"/>
                                        </p:tgtEl>
                                        <p:attrNameLst>
                                          <p:attrName>style.visibility</p:attrName>
                                        </p:attrNameLst>
                                      </p:cBhvr>
                                      <p:to>
                                        <p:strVal val="visible"/>
                                      </p:to>
                                    </p:set>
                                  </p:childTnLst>
                                </p:cTn>
                              </p:par>
                            </p:childTnLst>
                          </p:cTn>
                        </p:par>
                        <p:par>
                          <p:cTn id="19" fill="hold">
                            <p:stCondLst>
                              <p:cond delay="2000"/>
                            </p:stCondLst>
                            <p:childTnLst>
                              <p:par>
                                <p:cTn id="20" presetID="10" presetClass="exit" presetSubtype="0" fill="hold" nodeType="afterEffect">
                                  <p:stCondLst>
                                    <p:cond delay="0"/>
                                  </p:stCondLst>
                                  <p:childTnLst>
                                    <p:animEffect transition="out" filter="fade">
                                      <p:cBhvr>
                                        <p:cTn id="21" dur="3000"/>
                                        <p:tgtEl>
                                          <p:spTgt spid="74"/>
                                        </p:tgtEl>
                                      </p:cBhvr>
                                    </p:animEffect>
                                    <p:set>
                                      <p:cBhvr>
                                        <p:cTn id="22" dur="1" fill="hold">
                                          <p:stCondLst>
                                            <p:cond delay="2999"/>
                                          </p:stCondLst>
                                        </p:cTn>
                                        <p:tgtEl>
                                          <p:spTgt spid="74"/>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111"/>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0" presetClass="path" presetSubtype="0" accel="50000" decel="50000" fill="hold" nodeType="clickEffect">
                                  <p:stCondLst>
                                    <p:cond delay="0"/>
                                  </p:stCondLst>
                                  <p:childTnLst>
                                    <p:animMotion origin="layout" path="M 3.125E-6 0.00579 L 3.125E-6 -0.29768 " pathEditMode="relative" rAng="0" ptsTypes="AA">
                                      <p:cBhvr>
                                        <p:cTn id="32" dur="2000" fill="hold"/>
                                        <p:tgtEl>
                                          <p:spTgt spid="93"/>
                                        </p:tgtEl>
                                        <p:attrNameLst>
                                          <p:attrName>ppt_x</p:attrName>
                                          <p:attrName>ppt_y</p:attrName>
                                        </p:attrNameLst>
                                      </p:cBhvr>
                                      <p:rCtr x="0" y="-15185"/>
                                    </p:animMotion>
                                  </p:childTnLst>
                                </p:cTn>
                              </p:par>
                              <p:par>
                                <p:cTn id="33" presetID="1" presetClass="exit" presetSubtype="0" fill="hold" grpId="1" nodeType="withEffect">
                                  <p:stCondLst>
                                    <p:cond delay="0"/>
                                  </p:stCondLst>
                                  <p:childTnLst>
                                    <p:set>
                                      <p:cBhvr>
                                        <p:cTn id="34" dur="1" fill="hold">
                                          <p:stCondLst>
                                            <p:cond delay="0"/>
                                          </p:stCondLst>
                                        </p:cTn>
                                        <p:tgtEl>
                                          <p:spTgt spid="138"/>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34"/>
                                        </p:tgtEl>
                                        <p:attrNameLst>
                                          <p:attrName>style.visibility</p:attrName>
                                        </p:attrNameLst>
                                      </p:cBhvr>
                                      <p:to>
                                        <p:strVal val="visible"/>
                                      </p:to>
                                    </p:set>
                                  </p:childTnLst>
                                </p:cTn>
                              </p:par>
                            </p:childTnLst>
                          </p:cTn>
                        </p:par>
                        <p:par>
                          <p:cTn id="37" fill="hold">
                            <p:stCondLst>
                              <p:cond delay="2000"/>
                            </p:stCondLst>
                            <p:childTnLst>
                              <p:par>
                                <p:cTn id="38" presetID="1" presetClass="entr" presetSubtype="0" fill="hold" grpId="0" nodeType="afterEffect">
                                  <p:stCondLst>
                                    <p:cond delay="0"/>
                                  </p:stCondLst>
                                  <p:childTnLst>
                                    <p:set>
                                      <p:cBhvr>
                                        <p:cTn id="39" dur="1" fill="hold">
                                          <p:stCondLst>
                                            <p:cond delay="0"/>
                                          </p:stCondLst>
                                        </p:cTn>
                                        <p:tgtEl>
                                          <p:spTgt spid="139"/>
                                        </p:tgtEl>
                                        <p:attrNameLst>
                                          <p:attrName>style.visibility</p:attrName>
                                        </p:attrNameLst>
                                      </p:cBhvr>
                                      <p:to>
                                        <p:strVal val="visible"/>
                                      </p:to>
                                    </p:set>
                                  </p:childTnLst>
                                </p:cTn>
                              </p:par>
                            </p:childTnLst>
                          </p:cTn>
                        </p:par>
                        <p:par>
                          <p:cTn id="40" fill="hold">
                            <p:stCondLst>
                              <p:cond delay="2000"/>
                            </p:stCondLst>
                            <p:childTnLst>
                              <p:par>
                                <p:cTn id="41" presetID="10" presetClass="entr" presetSubtype="0" fill="hold" nodeType="afterEffect">
                                  <p:stCondLst>
                                    <p:cond delay="0"/>
                                  </p:stCondLst>
                                  <p:childTnLst>
                                    <p:set>
                                      <p:cBhvr>
                                        <p:cTn id="42" dur="1" fill="hold">
                                          <p:stCondLst>
                                            <p:cond delay="0"/>
                                          </p:stCondLst>
                                        </p:cTn>
                                        <p:tgtEl>
                                          <p:spTgt spid="126"/>
                                        </p:tgtEl>
                                        <p:attrNameLst>
                                          <p:attrName>style.visibility</p:attrName>
                                        </p:attrNameLst>
                                      </p:cBhvr>
                                      <p:to>
                                        <p:strVal val="visible"/>
                                      </p:to>
                                    </p:set>
                                    <p:animEffect transition="in" filter="fade">
                                      <p:cBhvr>
                                        <p:cTn id="43" dur="1000"/>
                                        <p:tgtEl>
                                          <p:spTgt spid="12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2000"/>
                                        <p:tgtEl>
                                          <p:spTgt spid="93"/>
                                        </p:tgtEl>
                                      </p:cBhvr>
                                    </p:animEffect>
                                    <p:set>
                                      <p:cBhvr>
                                        <p:cTn id="48" dur="1" fill="hold">
                                          <p:stCondLst>
                                            <p:cond delay="1999"/>
                                          </p:stCondLst>
                                        </p:cTn>
                                        <p:tgtEl>
                                          <p:spTgt spid="93"/>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39"/>
                                        </p:tgtEl>
                                        <p:attrNameLst>
                                          <p:attrName>style.visibility</p:attrName>
                                        </p:attrNameLst>
                                      </p:cBhvr>
                                      <p:to>
                                        <p:strVal val="hidden"/>
                                      </p:to>
                                    </p:set>
                                  </p:childTnLst>
                                </p:cTn>
                              </p:par>
                              <p:par>
                                <p:cTn id="51" presetID="10" presetClass="entr" presetSubtype="0" fill="hold" nodeType="withEffect">
                                  <p:stCondLst>
                                    <p:cond delay="0"/>
                                  </p:stCondLst>
                                  <p:childTnLst>
                                    <p:set>
                                      <p:cBhvr>
                                        <p:cTn id="52" dur="1" fill="hold">
                                          <p:stCondLst>
                                            <p:cond delay="0"/>
                                          </p:stCondLst>
                                        </p:cTn>
                                        <p:tgtEl>
                                          <p:spTgt spid="108"/>
                                        </p:tgtEl>
                                        <p:attrNameLst>
                                          <p:attrName>style.visibility</p:attrName>
                                        </p:attrNameLst>
                                      </p:cBhvr>
                                      <p:to>
                                        <p:strVal val="visible"/>
                                      </p:to>
                                    </p:set>
                                    <p:animEffect transition="in" filter="fade">
                                      <p:cBhvr>
                                        <p:cTn id="53" dur="2000"/>
                                        <p:tgtEl>
                                          <p:spTgt spid="108"/>
                                        </p:tgtEl>
                                      </p:cBhvr>
                                    </p:animEffect>
                                  </p:childTnLst>
                                </p:cTn>
                              </p:par>
                              <p:par>
                                <p:cTn id="54" presetID="0" presetClass="path" presetSubtype="0" accel="50000" decel="50000" fill="hold" nodeType="withEffect">
                                  <p:stCondLst>
                                    <p:cond delay="0"/>
                                  </p:stCondLst>
                                  <p:childTnLst>
                                    <p:animMotion origin="layout" path="M 4.16667E-7 -3.33333E-6 L 4.16667E-7 -0.05555 " pathEditMode="relative" rAng="0" ptsTypes="AA">
                                      <p:cBhvr>
                                        <p:cTn id="55" dur="2000" fill="hold"/>
                                        <p:tgtEl>
                                          <p:spTgt spid="96"/>
                                        </p:tgtEl>
                                        <p:attrNameLst>
                                          <p:attrName>ppt_x</p:attrName>
                                          <p:attrName>ppt_y</p:attrName>
                                        </p:attrNameLst>
                                      </p:cBhvr>
                                      <p:rCtr x="0" y="-2778"/>
                                    </p:animMotion>
                                  </p:childTnLst>
                                </p:cTn>
                              </p:par>
                              <p:par>
                                <p:cTn id="56" presetID="1" presetClass="entr" presetSubtype="0" fill="hold" grpId="0" nodeType="withEffect">
                                  <p:stCondLst>
                                    <p:cond delay="0"/>
                                  </p:stCondLst>
                                  <p:childTnLst>
                                    <p:set>
                                      <p:cBhvr>
                                        <p:cTn id="57" dur="1" fill="hold">
                                          <p:stCondLst>
                                            <p:cond delay="0"/>
                                          </p:stCondLst>
                                        </p:cTn>
                                        <p:tgtEl>
                                          <p:spTgt spid="135"/>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14"/>
                                        </p:tgtEl>
                                        <p:attrNameLst>
                                          <p:attrName>style.visibility</p:attrName>
                                        </p:attrNameLst>
                                      </p:cBhvr>
                                      <p:to>
                                        <p:strVal val="visible"/>
                                      </p:to>
                                    </p:set>
                                    <p:animEffect transition="in" filter="fade">
                                      <p:cBhvr>
                                        <p:cTn id="62" dur="2000"/>
                                        <p:tgtEl>
                                          <p:spTgt spid="114"/>
                                        </p:tgtEl>
                                      </p:cBhvr>
                                    </p:animEffect>
                                  </p:childTnLst>
                                </p:cTn>
                              </p:par>
                              <p:par>
                                <p:cTn id="63" presetID="1" presetClass="entr" presetSubtype="0" fill="hold" grpId="0" nodeType="withEffect">
                                  <p:stCondLst>
                                    <p:cond delay="0"/>
                                  </p:stCondLst>
                                  <p:childTnLst>
                                    <p:set>
                                      <p:cBhvr>
                                        <p:cTn id="64" dur="1" fill="hold">
                                          <p:stCondLst>
                                            <p:cond delay="0"/>
                                          </p:stCondLst>
                                        </p:cTn>
                                        <p:tgtEl>
                                          <p:spTgt spid="136"/>
                                        </p:tgtEl>
                                        <p:attrNameLst>
                                          <p:attrName>style.visibility</p:attrName>
                                        </p:attrNameLst>
                                      </p:cBhvr>
                                      <p:to>
                                        <p:strVal val="visible"/>
                                      </p:to>
                                    </p:set>
                                  </p:childTnLst>
                                </p:cTn>
                              </p:par>
                              <p:par>
                                <p:cTn id="65" presetID="10" presetClass="exit" presetSubtype="0" fill="hold" nodeType="withEffect">
                                  <p:stCondLst>
                                    <p:cond delay="0"/>
                                  </p:stCondLst>
                                  <p:childTnLst>
                                    <p:animEffect transition="out" filter="fade">
                                      <p:cBhvr>
                                        <p:cTn id="66" dur="2000"/>
                                        <p:tgtEl>
                                          <p:spTgt spid="93"/>
                                        </p:tgtEl>
                                      </p:cBhvr>
                                    </p:animEffect>
                                    <p:set>
                                      <p:cBhvr>
                                        <p:cTn id="67" dur="1" fill="hold">
                                          <p:stCondLst>
                                            <p:cond delay="1999"/>
                                          </p:stCondLst>
                                        </p:cTn>
                                        <p:tgtEl>
                                          <p:spTgt spid="93"/>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120"/>
                                        </p:tgtEl>
                                        <p:attrNameLst>
                                          <p:attrName>style.visibility</p:attrName>
                                        </p:attrNameLst>
                                      </p:cBhvr>
                                      <p:to>
                                        <p:strVal val="visible"/>
                                      </p:to>
                                    </p:set>
                                    <p:animEffect transition="in" filter="fade">
                                      <p:cBhvr>
                                        <p:cTn id="70" dur="2000"/>
                                        <p:tgtEl>
                                          <p:spTgt spid="120"/>
                                        </p:tgtEl>
                                      </p:cBhvr>
                                    </p:animEffect>
                                  </p:childTnLst>
                                </p:cTn>
                              </p:par>
                              <p:par>
                                <p:cTn id="71" presetID="10" presetClass="entr" presetSubtype="0" fill="hold" nodeType="withEffect">
                                  <p:stCondLst>
                                    <p:cond delay="0"/>
                                  </p:stCondLst>
                                  <p:childTnLst>
                                    <p:set>
                                      <p:cBhvr>
                                        <p:cTn id="72" dur="1" fill="hold">
                                          <p:stCondLst>
                                            <p:cond delay="0"/>
                                          </p:stCondLst>
                                        </p:cTn>
                                        <p:tgtEl>
                                          <p:spTgt spid="117"/>
                                        </p:tgtEl>
                                        <p:attrNameLst>
                                          <p:attrName>style.visibility</p:attrName>
                                        </p:attrNameLst>
                                      </p:cBhvr>
                                      <p:to>
                                        <p:strVal val="visible"/>
                                      </p:to>
                                    </p:set>
                                    <p:animEffect transition="in" filter="fade">
                                      <p:cBhvr>
                                        <p:cTn id="73" dur="2000"/>
                                        <p:tgtEl>
                                          <p:spTgt spid="117"/>
                                        </p:tgtEl>
                                      </p:cBhvr>
                                    </p:animEffect>
                                  </p:childTnLst>
                                </p:cTn>
                              </p:par>
                            </p:childTnLst>
                          </p:cTn>
                        </p:par>
                      </p:childTnLst>
                    </p:cTn>
                  </p:par>
                  <p:par>
                    <p:cTn id="74" fill="hold">
                      <p:stCondLst>
                        <p:cond delay="indefinite"/>
                      </p:stCondLst>
                      <p:childTnLst>
                        <p:par>
                          <p:cTn id="75" fill="hold">
                            <p:stCondLst>
                              <p:cond delay="0"/>
                            </p:stCondLst>
                            <p:childTnLst>
                              <p:par>
                                <p:cTn id="76" presetID="0" presetClass="path" presetSubtype="0" accel="50000" decel="50000" fill="hold" nodeType="clickEffect">
                                  <p:stCondLst>
                                    <p:cond delay="0"/>
                                  </p:stCondLst>
                                  <p:childTnLst>
                                    <p:animMotion origin="layout" path="M -0.00456 -0.00648 L -0.30651 0.31551 " pathEditMode="relative" rAng="0" ptsTypes="AA">
                                      <p:cBhvr>
                                        <p:cTn id="77" dur="2000" fill="hold"/>
                                        <p:tgtEl>
                                          <p:spTgt spid="117"/>
                                        </p:tgtEl>
                                        <p:attrNameLst>
                                          <p:attrName>ppt_x</p:attrName>
                                          <p:attrName>ppt_y</p:attrName>
                                        </p:attrNameLst>
                                      </p:cBhvr>
                                      <p:rCtr x="-15104" y="16088"/>
                                    </p:animMotion>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137"/>
                                        </p:tgtEl>
                                        <p:attrNameLst>
                                          <p:attrName>style.visibility</p:attrName>
                                        </p:attrNameLst>
                                      </p:cBhvr>
                                      <p:to>
                                        <p:strVal val="visible"/>
                                      </p:to>
                                    </p:set>
                                  </p:childTnLst>
                                </p:cTn>
                              </p:par>
                              <p:par>
                                <p:cTn id="82" presetID="10" presetClass="entr" presetSubtype="0" fill="hold" nodeType="withEffect">
                                  <p:stCondLst>
                                    <p:cond delay="0"/>
                                  </p:stCondLst>
                                  <p:childTnLst>
                                    <p:set>
                                      <p:cBhvr>
                                        <p:cTn id="83" dur="1" fill="hold">
                                          <p:stCondLst>
                                            <p:cond delay="0"/>
                                          </p:stCondLst>
                                        </p:cTn>
                                        <p:tgtEl>
                                          <p:spTgt spid="123"/>
                                        </p:tgtEl>
                                        <p:attrNameLst>
                                          <p:attrName>style.visibility</p:attrName>
                                        </p:attrNameLst>
                                      </p:cBhvr>
                                      <p:to>
                                        <p:strVal val="visible"/>
                                      </p:to>
                                    </p:set>
                                    <p:animEffect transition="in" filter="fade">
                                      <p:cBhvr>
                                        <p:cTn id="84" dur="500"/>
                                        <p:tgtEl>
                                          <p:spTgt spid="123"/>
                                        </p:tgtEl>
                                      </p:cBhvr>
                                    </p:animEffect>
                                  </p:childTnLst>
                                </p:cTn>
                              </p:par>
                              <p:par>
                                <p:cTn id="85" presetID="10" presetClass="entr" presetSubtype="0" fill="hold" nodeType="withEffect">
                                  <p:stCondLst>
                                    <p:cond delay="0"/>
                                  </p:stCondLst>
                                  <p:childTnLst>
                                    <p:set>
                                      <p:cBhvr>
                                        <p:cTn id="86" dur="1" fill="hold">
                                          <p:stCondLst>
                                            <p:cond delay="0"/>
                                          </p:stCondLst>
                                        </p:cTn>
                                        <p:tgtEl>
                                          <p:spTgt spid="129"/>
                                        </p:tgtEl>
                                        <p:attrNameLst>
                                          <p:attrName>style.visibility</p:attrName>
                                        </p:attrNameLst>
                                      </p:cBhvr>
                                      <p:to>
                                        <p:strVal val="visible"/>
                                      </p:to>
                                    </p:set>
                                    <p:animEffect transition="in" filter="fade">
                                      <p:cBhvr>
                                        <p:cTn id="87" dur="1000"/>
                                        <p:tgtEl>
                                          <p:spTgt spid="129"/>
                                        </p:tgtEl>
                                      </p:cBhvr>
                                    </p:animEffect>
                                  </p:childTnLst>
                                </p:cTn>
                              </p:par>
                              <p:par>
                                <p:cTn id="88" presetID="10" presetClass="exit" presetSubtype="0" fill="hold" nodeType="withEffect">
                                  <p:stCondLst>
                                    <p:cond delay="0"/>
                                  </p:stCondLst>
                                  <p:childTnLst>
                                    <p:animEffect transition="out" filter="fade">
                                      <p:cBhvr>
                                        <p:cTn id="89" dur="1000"/>
                                        <p:tgtEl>
                                          <p:spTgt spid="123"/>
                                        </p:tgtEl>
                                      </p:cBhvr>
                                    </p:animEffect>
                                    <p:set>
                                      <p:cBhvr>
                                        <p:cTn id="90" dur="1" fill="hold">
                                          <p:stCondLst>
                                            <p:cond delay="999"/>
                                          </p:stCondLst>
                                        </p:cTn>
                                        <p:tgtEl>
                                          <p:spTgt spid="123"/>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120"/>
                                        </p:tgtEl>
                                        <p:attrNameLst>
                                          <p:attrName>style.visibility</p:attrName>
                                        </p:attrNameLst>
                                      </p:cBhvr>
                                      <p:to>
                                        <p:strVal val="hidden"/>
                                      </p:to>
                                    </p:set>
                                  </p:childTnLst>
                                </p:cTn>
                              </p:par>
                              <p:par>
                                <p:cTn id="93" presetID="64" presetClass="path" presetSubtype="0" accel="50000" decel="50000" fill="hold" nodeType="withEffect">
                                  <p:stCondLst>
                                    <p:cond delay="0"/>
                                  </p:stCondLst>
                                  <p:childTnLst>
                                    <p:animMotion origin="layout" path="M 6.25E-7 -7.40741E-7 L 6.25E-7 -0.05416 " pathEditMode="relative" rAng="0" ptsTypes="AA">
                                      <p:cBhvr>
                                        <p:cTn id="94" dur="2000" fill="hold"/>
                                        <p:tgtEl>
                                          <p:spTgt spid="90"/>
                                        </p:tgtEl>
                                        <p:attrNameLst>
                                          <p:attrName>ppt_x</p:attrName>
                                          <p:attrName>ppt_y</p:attrName>
                                        </p:attrNameLst>
                                      </p:cBhvr>
                                      <p:rCtr x="0" y="-2708"/>
                                    </p:animMotion>
                                  </p:childTnLst>
                                </p:cTn>
                              </p:par>
                              <p:par>
                                <p:cTn id="95" presetID="64" presetClass="path" presetSubtype="0" accel="50000" decel="50000" fill="hold" nodeType="withEffect">
                                  <p:stCondLst>
                                    <p:cond delay="0"/>
                                  </p:stCondLst>
                                  <p:childTnLst>
                                    <p:animMotion origin="layout" path="M 6.25E-7 2.22222E-6 L 6.25E-7 -0.05578 " pathEditMode="relative" rAng="0" ptsTypes="AA">
                                      <p:cBhvr>
                                        <p:cTn id="96" dur="2000" fill="hold"/>
                                        <p:tgtEl>
                                          <p:spTgt spid="77"/>
                                        </p:tgtEl>
                                        <p:attrNameLst>
                                          <p:attrName>ppt_x</p:attrName>
                                          <p:attrName>ppt_y</p:attrName>
                                        </p:attrNameLst>
                                      </p:cBhvr>
                                      <p:rCtr x="0"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4" grpId="0" animBg="1"/>
      <p:bldP spid="135" grpId="0" animBg="1"/>
      <p:bldP spid="136" grpId="0" animBg="1"/>
      <p:bldP spid="137" grpId="0" animBg="1"/>
      <p:bldP spid="138" grpId="0" animBg="1"/>
      <p:bldP spid="138" grpId="1" animBg="1"/>
      <p:bldP spid="139" grpId="0" animBg="1"/>
      <p:bldP spid="139"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Relevant Dynamic Management Views (DMVs)</a:t>
            </a:r>
            <a:endParaRPr lang="en-US"/>
          </a:p>
        </p:txBody>
      </p:sp>
      <p:graphicFrame>
        <p:nvGraphicFramePr>
          <p:cNvPr id="5" name="Content Placeholder 2"/>
          <p:cNvGraphicFramePr>
            <a:graphicFrameLocks/>
          </p:cNvGraphicFramePr>
          <p:nvPr>
            <p:extLst>
              <p:ext uri="{D42A27DB-BD31-4B8C-83A1-F6EECF244321}">
                <p14:modId xmlns:p14="http://schemas.microsoft.com/office/powerpoint/2010/main" val="1373520579"/>
              </p:ext>
            </p:extLst>
          </p:nvPr>
        </p:nvGraphicFramePr>
        <p:xfrm>
          <a:off x="655635" y="1408115"/>
          <a:ext cx="10880725" cy="44462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73399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solidFill>
                  <a:schemeClr val="accent1"/>
                </a:solidFill>
              </a:rPr>
              <a:t>Waiting Tasks DMV</a:t>
            </a:r>
          </a:p>
        </p:txBody>
      </p:sp>
      <p:pic>
        <p:nvPicPr>
          <p:cNvPr id="4" name="Picture 3">
            <a:extLst>
              <a:ext uri="{FF2B5EF4-FFF2-40B4-BE49-F238E27FC236}">
                <a16:creationId xmlns:a16="http://schemas.microsoft.com/office/drawing/2014/main" id="{3C9BBB90-B461-4D36-93A8-853FD4B2395B}"/>
              </a:ext>
            </a:extLst>
          </p:cNvPr>
          <p:cNvPicPr>
            <a:picLocks noChangeAspect="1"/>
          </p:cNvPicPr>
          <p:nvPr/>
        </p:nvPicPr>
        <p:blipFill>
          <a:blip r:embed="rId4"/>
          <a:stretch>
            <a:fillRect/>
          </a:stretch>
        </p:blipFill>
        <p:spPr>
          <a:xfrm>
            <a:off x="1189898" y="1391401"/>
            <a:ext cx="9810926" cy="3524963"/>
          </a:xfrm>
          <a:prstGeom prst="rect">
            <a:avLst/>
          </a:prstGeom>
          <a:effectLst>
            <a:outerShdw blurRad="50800" dist="76200" dir="2700000" algn="tl" rotWithShape="0">
              <a:prstClr val="black">
                <a:alpha val="40000"/>
              </a:prstClr>
            </a:outerShdw>
          </a:effectLst>
        </p:spPr>
      </p:pic>
      <p:pic>
        <p:nvPicPr>
          <p:cNvPr id="7" name="Picture 6">
            <a:extLst>
              <a:ext uri="{FF2B5EF4-FFF2-40B4-BE49-F238E27FC236}">
                <a16:creationId xmlns:a16="http://schemas.microsoft.com/office/drawing/2014/main" id="{2849C14F-001B-48F3-B1F8-781720644704}"/>
              </a:ext>
            </a:extLst>
          </p:cNvPr>
          <p:cNvPicPr>
            <a:picLocks noChangeAspect="1"/>
          </p:cNvPicPr>
          <p:nvPr/>
        </p:nvPicPr>
        <p:blipFill>
          <a:blip r:embed="rId5"/>
          <a:stretch>
            <a:fillRect/>
          </a:stretch>
        </p:blipFill>
        <p:spPr>
          <a:xfrm>
            <a:off x="46916" y="5476239"/>
            <a:ext cx="12096891" cy="614334"/>
          </a:xfrm>
          <a:prstGeom prst="rect">
            <a:avLst/>
          </a:prstGeom>
          <a:ln>
            <a:solidFill>
              <a:srgbClr val="000000"/>
            </a:solidFill>
          </a:ln>
        </p:spPr>
      </p:pic>
    </p:spTree>
    <p:custDataLst>
      <p:tags r:id="rId1"/>
    </p:custDataLst>
    <p:extLst>
      <p:ext uri="{BB962C8B-B14F-4D97-AF65-F5344CB8AC3E}">
        <p14:creationId xmlns:p14="http://schemas.microsoft.com/office/powerpoint/2010/main" val="20143692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Notable Wait Types</a:t>
            </a:r>
          </a:p>
        </p:txBody>
      </p:sp>
      <p:graphicFrame>
        <p:nvGraphicFramePr>
          <p:cNvPr id="4" name="Content Placeholder 3">
            <a:extLst>
              <a:ext uri="{FF2B5EF4-FFF2-40B4-BE49-F238E27FC236}">
                <a16:creationId xmlns:a16="http://schemas.microsoft.com/office/drawing/2014/main" id="{138DBE09-7A9C-4F74-985A-D27BDC72A678}"/>
              </a:ext>
            </a:extLst>
          </p:cNvPr>
          <p:cNvGraphicFramePr>
            <a:graphicFrameLocks noGrp="1"/>
          </p:cNvGraphicFramePr>
          <p:nvPr>
            <p:ph sz="quarter" idx="13"/>
            <p:extLst>
              <p:ext uri="{D42A27DB-BD31-4B8C-83A1-F6EECF244321}">
                <p14:modId xmlns:p14="http://schemas.microsoft.com/office/powerpoint/2010/main" val="2042726569"/>
              </p:ext>
            </p:extLst>
          </p:nvPr>
        </p:nvGraphicFramePr>
        <p:xfrm>
          <a:off x="655638" y="1091046"/>
          <a:ext cx="10880726" cy="53201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015474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Introduction to SQL Operating System</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Examining SQL Server Scheduling</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Waits and queue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Using waits and queues troubleshooting methodology</a:t>
            </a:r>
          </a:p>
          <a:p>
            <a:endParaRPr lang="en-US"/>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0674129"/>
              </p:ext>
            </p:extLst>
          </p:nvPr>
        </p:nvGraphicFramePr>
        <p:xfrm>
          <a:off x="655638" y="1408113"/>
          <a:ext cx="10880725" cy="3232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Microsoft SQL Server Architecture Overview.</a:t>
            </a:r>
          </a:p>
          <a:p>
            <a:r>
              <a:rPr lang="en-US"/>
              <a:t>Learn SQL Server Operating System (SQLOS) Component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11CB2BC7-71D6-4346-B977-512D58E34EEB}"/>
              </a:ext>
            </a:extLst>
          </p:cNvPr>
          <p:cNvSpPr/>
          <p:nvPr/>
        </p:nvSpPr>
        <p:spPr bwMode="auto">
          <a:xfrm>
            <a:off x="1516825" y="1761553"/>
            <a:ext cx="9354375" cy="26668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p:nvPr>
        </p:nvSpPr>
        <p:spPr>
          <a:xfrm>
            <a:off x="460188" y="144626"/>
            <a:ext cx="10880725" cy="461665"/>
          </a:xfrm>
        </p:spPr>
        <p:txBody>
          <a:bodyPr/>
          <a:lstStyle/>
          <a:p>
            <a:r>
              <a:rPr lang="en-US" dirty="0"/>
              <a:t>Inside the Database Engine</a:t>
            </a:r>
          </a:p>
        </p:txBody>
      </p:sp>
      <p:sp>
        <p:nvSpPr>
          <p:cNvPr id="6" name="Rectangle 4"/>
          <p:cNvSpPr>
            <a:spLocks noChangeArrowheads="1"/>
          </p:cNvSpPr>
          <p:nvPr/>
        </p:nvSpPr>
        <p:spPr bwMode="auto">
          <a:xfrm>
            <a:off x="2225964" y="4580058"/>
            <a:ext cx="8645236" cy="1747375"/>
          </a:xfrm>
          <a:prstGeom prst="rect">
            <a:avLst/>
          </a:prstGeom>
          <a:solidFill>
            <a:schemeClr val="accent1">
              <a:lumMod val="20000"/>
              <a:lumOff val="80000"/>
            </a:schemeClr>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E6E6E6"/>
              </a:solidFill>
              <a:effectLst/>
              <a:uLnTx/>
              <a:uFillTx/>
              <a:latin typeface="Segoe UI"/>
              <a:ea typeface="+mn-ea"/>
              <a:cs typeface="+mn-cs"/>
            </a:endParaRPr>
          </a:p>
        </p:txBody>
      </p:sp>
      <p:sp>
        <p:nvSpPr>
          <p:cNvPr id="9" name="Rectangle 20"/>
          <p:cNvSpPr>
            <a:spLocks noChangeArrowheads="1"/>
          </p:cNvSpPr>
          <p:nvPr/>
        </p:nvSpPr>
        <p:spPr bwMode="auto">
          <a:xfrm>
            <a:off x="2335009" y="3912298"/>
            <a:ext cx="8335984" cy="342945"/>
          </a:xfrm>
          <a:prstGeom prst="rect">
            <a:avLst/>
          </a:prstGeom>
          <a:solidFill>
            <a:srgbClr val="FFC000"/>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SQLOS API</a:t>
            </a:r>
          </a:p>
        </p:txBody>
      </p:sp>
      <p:sp>
        <p:nvSpPr>
          <p:cNvPr id="10" name="Rectangle 30"/>
          <p:cNvSpPr>
            <a:spLocks noChangeArrowheads="1"/>
          </p:cNvSpPr>
          <p:nvPr/>
        </p:nvSpPr>
        <p:spPr bwMode="auto">
          <a:xfrm>
            <a:off x="2225964" y="1160594"/>
            <a:ext cx="8645236" cy="508594"/>
          </a:xfrm>
          <a:prstGeom prst="rect">
            <a:avLst/>
          </a:prstGeom>
          <a:solidFill>
            <a:srgbClr val="008080"/>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Protoc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hared Memory / TCP / Named Pipes</a:t>
            </a:r>
            <a:endParaRPr kumimoji="0" lang="en-US" sz="1568"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31"/>
          <p:cNvSpPr>
            <a:spLocks noChangeArrowheads="1"/>
          </p:cNvSpPr>
          <p:nvPr/>
        </p:nvSpPr>
        <p:spPr bwMode="auto">
          <a:xfrm>
            <a:off x="2335352" y="1858705"/>
            <a:ext cx="3216210" cy="2023498"/>
          </a:xfrm>
          <a:prstGeom prst="rect">
            <a:avLst/>
          </a:prstGeom>
          <a:solidFill>
            <a:schemeClr val="accent4"/>
          </a:solidFill>
          <a:ln w="9525">
            <a:noFill/>
            <a:miter lim="800000"/>
            <a:headEnd/>
            <a:tailEnd/>
          </a:ln>
          <a:effectLst/>
        </p:spPr>
        <p:txBody>
          <a:bodyPr wrap="none"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Relational Engine</a:t>
            </a:r>
          </a:p>
        </p:txBody>
      </p:sp>
      <p:sp>
        <p:nvSpPr>
          <p:cNvPr id="12" name="Rectangle 11"/>
          <p:cNvSpPr/>
          <p:nvPr/>
        </p:nvSpPr>
        <p:spPr>
          <a:xfrm>
            <a:off x="2632511" y="236386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Parser and Algebriz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Rectangle 12"/>
          <p:cNvSpPr/>
          <p:nvPr/>
        </p:nvSpPr>
        <p:spPr>
          <a:xfrm>
            <a:off x="3995161" y="236386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Query Optimiz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14"/>
          <p:cNvSpPr/>
          <p:nvPr/>
        </p:nvSpPr>
        <p:spPr>
          <a:xfrm>
            <a:off x="3995161" y="305532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0000"/>
                </a:solidFill>
                <a:effectLst/>
                <a:uLnTx/>
                <a:uFillTx/>
                <a:latin typeface="Segoe UI"/>
                <a:ea typeface="+mn-ea"/>
                <a:cs typeface="+mn-cs"/>
              </a:rPr>
              <a:t>Query Executor</a:t>
            </a:r>
            <a:endParaRPr kumimoji="0" lang="pt-PT" sz="1372" b="0" i="0" u="none" strike="noStrike" kern="1200" cap="none" spc="0" normalizeH="0" baseline="0" noProof="0">
              <a:ln>
                <a:noFill/>
              </a:ln>
              <a:solidFill>
                <a:srgbClr val="000000"/>
              </a:solidFill>
              <a:effectLst/>
              <a:uLnTx/>
              <a:uFillTx/>
              <a:latin typeface="Segoe UI"/>
              <a:ea typeface="+mn-ea"/>
              <a:cs typeface="+mn-cs"/>
            </a:endParaRPr>
          </a:p>
        </p:txBody>
      </p:sp>
      <p:sp>
        <p:nvSpPr>
          <p:cNvPr id="16" name="Down Arrow 15"/>
          <p:cNvSpPr/>
          <p:nvPr/>
        </p:nvSpPr>
        <p:spPr>
          <a:xfrm>
            <a:off x="6191950" y="848285"/>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24"/>
          <p:cNvSpPr>
            <a:spLocks noChangeArrowheads="1"/>
          </p:cNvSpPr>
          <p:nvPr/>
        </p:nvSpPr>
        <p:spPr bwMode="auto">
          <a:xfrm>
            <a:off x="5685863" y="1855523"/>
            <a:ext cx="4989312" cy="2025730"/>
          </a:xfrm>
          <a:prstGeom prst="rect">
            <a:avLst/>
          </a:prstGeom>
          <a:solidFill>
            <a:schemeClr val="accent4"/>
          </a:solidFill>
          <a:ln w="9525">
            <a:noFill/>
            <a:miter lim="800000"/>
            <a:headEnd/>
            <a:tailEnd/>
          </a:ln>
          <a:effectLst/>
        </p:spPr>
        <p:txBody>
          <a:bodyPr wrap="none"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Storage Engine</a:t>
            </a:r>
          </a:p>
        </p:txBody>
      </p:sp>
      <p:grpSp>
        <p:nvGrpSpPr>
          <p:cNvPr id="18" name="Group 17"/>
          <p:cNvGrpSpPr/>
          <p:nvPr/>
        </p:nvGrpSpPr>
        <p:grpSpPr>
          <a:xfrm>
            <a:off x="6076663" y="2363861"/>
            <a:ext cx="4207714" cy="1305516"/>
            <a:chOff x="5307512" y="2389071"/>
            <a:chExt cx="4292087" cy="1232837"/>
          </a:xfrm>
          <a:solidFill>
            <a:schemeClr val="accent5">
              <a:lumMod val="40000"/>
              <a:lumOff val="60000"/>
            </a:schemeClr>
          </a:solidFill>
        </p:grpSpPr>
        <p:sp>
          <p:nvSpPr>
            <p:cNvPr id="19" name="Rectangle 18"/>
            <p:cNvSpPr/>
            <p:nvPr/>
          </p:nvSpPr>
          <p:spPr>
            <a:xfrm>
              <a:off x="8308401" y="3249033"/>
              <a:ext cx="1291198" cy="372874"/>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Transaction Services</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19"/>
            <p:cNvSpPr/>
            <p:nvPr/>
          </p:nvSpPr>
          <p:spPr>
            <a:xfrm>
              <a:off x="8308401" y="2833121"/>
              <a:ext cx="1291198" cy="358920"/>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File Manag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20"/>
            <p:cNvSpPr/>
            <p:nvPr/>
          </p:nvSpPr>
          <p:spPr>
            <a:xfrm>
              <a:off x="8296307" y="2389071"/>
              <a:ext cx="1291198" cy="38705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Buffer Manag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1"/>
            <p:cNvSpPr/>
            <p:nvPr/>
          </p:nvSpPr>
          <p:spPr>
            <a:xfrm>
              <a:off x="5307512" y="2389071"/>
              <a:ext cx="1548449" cy="1219525"/>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ccess Metho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Pa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Reco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Index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L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Versio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Allocation</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2"/>
            <p:cNvSpPr/>
            <p:nvPr/>
          </p:nvSpPr>
          <p:spPr>
            <a:xfrm>
              <a:off x="6941705" y="2389071"/>
              <a:ext cx="1293116" cy="123283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Utilities</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176" b="0" i="0" u="none" strike="noStrike" kern="1200" cap="none" spc="0" normalizeH="0" baseline="0" noProof="0" dirty="0">
                  <a:ln>
                    <a:noFill/>
                  </a:ln>
                  <a:solidFill>
                    <a:srgbClr val="000000"/>
                  </a:solidFill>
                  <a:effectLst/>
                  <a:uLnTx/>
                  <a:uFillTx/>
                  <a:latin typeface="Segoe UI"/>
                  <a:ea typeface="+mn-ea"/>
                  <a:cs typeface="+mn-cs"/>
                </a:rPr>
                <a:t>DBC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Bulk Lo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Back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Restore</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4" name="Down Arrow 23"/>
          <p:cNvSpPr/>
          <p:nvPr/>
        </p:nvSpPr>
        <p:spPr>
          <a:xfrm>
            <a:off x="3811111" y="1616328"/>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Down Arrow 24"/>
          <p:cNvSpPr/>
          <p:nvPr/>
        </p:nvSpPr>
        <p:spPr>
          <a:xfrm rot="16200000">
            <a:off x="5524123" y="2733042"/>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a:off x="2632511" y="305532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Query Compil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Down Arrow 26"/>
          <p:cNvSpPr/>
          <p:nvPr/>
        </p:nvSpPr>
        <p:spPr>
          <a:xfrm>
            <a:off x="3811111" y="3821080"/>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p:cNvGrpSpPr/>
          <p:nvPr/>
        </p:nvGrpSpPr>
        <p:grpSpPr>
          <a:xfrm>
            <a:off x="4858120" y="4640516"/>
            <a:ext cx="5181977" cy="1495480"/>
            <a:chOff x="3412344" y="4639837"/>
            <a:chExt cx="5285886" cy="1525467"/>
          </a:xfrm>
          <a:solidFill>
            <a:schemeClr val="tx2">
              <a:lumMod val="40000"/>
              <a:lumOff val="60000"/>
            </a:schemeClr>
          </a:solidFill>
        </p:grpSpPr>
        <p:sp>
          <p:nvSpPr>
            <p:cNvPr id="29" name="Rectangle 8"/>
            <p:cNvSpPr>
              <a:spLocks noChangeArrowheads="1"/>
            </p:cNvSpPr>
            <p:nvPr/>
          </p:nvSpPr>
          <p:spPr bwMode="auto">
            <a:xfrm>
              <a:off x="6590003" y="5146396"/>
              <a:ext cx="210822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Thread Scheduling</a:t>
              </a:r>
            </a:p>
          </p:txBody>
        </p:sp>
        <p:sp>
          <p:nvSpPr>
            <p:cNvPr id="30" name="Rectangle 9"/>
            <p:cNvSpPr>
              <a:spLocks noChangeArrowheads="1"/>
            </p:cNvSpPr>
            <p:nvPr/>
          </p:nvSpPr>
          <p:spPr bwMode="auto">
            <a:xfrm>
              <a:off x="5602486" y="5641470"/>
              <a:ext cx="3095744"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Memory Manager</a:t>
              </a:r>
            </a:p>
          </p:txBody>
        </p:sp>
        <p:sp>
          <p:nvSpPr>
            <p:cNvPr id="31" name="Rectangle 12"/>
            <p:cNvSpPr>
              <a:spLocks noChangeArrowheads="1"/>
            </p:cNvSpPr>
            <p:nvPr/>
          </p:nvSpPr>
          <p:spPr bwMode="auto">
            <a:xfrm>
              <a:off x="7198123" y="4639837"/>
              <a:ext cx="150010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ynchronization</a:t>
              </a:r>
            </a:p>
          </p:txBody>
        </p:sp>
        <p:sp>
          <p:nvSpPr>
            <p:cNvPr id="32" name="Rectangle 10"/>
            <p:cNvSpPr>
              <a:spLocks noChangeArrowheads="1"/>
            </p:cNvSpPr>
            <p:nvPr/>
          </p:nvSpPr>
          <p:spPr bwMode="auto">
            <a:xfrm>
              <a:off x="3412344" y="5538904"/>
              <a:ext cx="1963575" cy="6264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Buffer</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Pool</a:t>
              </a:r>
            </a:p>
          </p:txBody>
        </p:sp>
      </p:grpSp>
      <p:sp>
        <p:nvSpPr>
          <p:cNvPr id="33" name="Rectangle 21"/>
          <p:cNvSpPr>
            <a:spLocks noChangeArrowheads="1"/>
          </p:cNvSpPr>
          <p:nvPr/>
        </p:nvSpPr>
        <p:spPr bwMode="auto">
          <a:xfrm>
            <a:off x="10110063" y="5137117"/>
            <a:ext cx="505355" cy="979434"/>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I/O</a:t>
            </a:r>
          </a:p>
        </p:txBody>
      </p:sp>
      <p:sp>
        <p:nvSpPr>
          <p:cNvPr id="34" name="Rectangle 33"/>
          <p:cNvSpPr/>
          <p:nvPr/>
        </p:nvSpPr>
        <p:spPr>
          <a:xfrm>
            <a:off x="5865496" y="4797124"/>
            <a:ext cx="917600" cy="614055"/>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Lock </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anager</a:t>
            </a:r>
            <a:endParaRPr kumimoji="0" lang="pt-PT" sz="1372" b="0" i="0" u="none" strike="noStrike" kern="1200" cap="none" spc="0" normalizeH="0" baseline="0" noProof="0">
              <a:ln>
                <a:noFill/>
              </a:ln>
              <a:solidFill>
                <a:srgbClr val="FFFFFF"/>
              </a:solidFill>
              <a:effectLst/>
              <a:uLnTx/>
              <a:uFillTx/>
              <a:latin typeface="Segoe UI"/>
              <a:ea typeface="+mn-ea"/>
              <a:cs typeface="+mn-cs"/>
            </a:endParaRPr>
          </a:p>
        </p:txBody>
      </p:sp>
      <p:sp>
        <p:nvSpPr>
          <p:cNvPr id="35" name="Down Arrow 34"/>
          <p:cNvSpPr/>
          <p:nvPr/>
        </p:nvSpPr>
        <p:spPr>
          <a:xfrm rot="10800000">
            <a:off x="4387089" y="1616327"/>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Down Arrow 35"/>
          <p:cNvSpPr/>
          <p:nvPr/>
        </p:nvSpPr>
        <p:spPr>
          <a:xfrm rot="10800000">
            <a:off x="6525195" y="825983"/>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5"/>
          <p:cNvSpPr>
            <a:spLocks noChangeArrowheads="1"/>
          </p:cNvSpPr>
          <p:nvPr/>
        </p:nvSpPr>
        <p:spPr bwMode="auto">
          <a:xfrm>
            <a:off x="2495433" y="47971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Deadlock</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38" name="Rectangle 18"/>
          <p:cNvSpPr>
            <a:spLocks noChangeArrowheads="1"/>
          </p:cNvSpPr>
          <p:nvPr/>
        </p:nvSpPr>
        <p:spPr bwMode="auto">
          <a:xfrm>
            <a:off x="2495433" y="55219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Resource</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39" name="Rectangle 19"/>
          <p:cNvSpPr>
            <a:spLocks noChangeArrowheads="1"/>
          </p:cNvSpPr>
          <p:nvPr/>
        </p:nvSpPr>
        <p:spPr bwMode="auto">
          <a:xfrm>
            <a:off x="3675139" y="47971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Laz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Writer</a:t>
            </a:r>
          </a:p>
        </p:txBody>
      </p:sp>
      <p:sp>
        <p:nvSpPr>
          <p:cNvPr id="41" name="Line 26"/>
          <p:cNvSpPr>
            <a:spLocks noChangeShapeType="1"/>
          </p:cNvSpPr>
          <p:nvPr/>
        </p:nvSpPr>
        <p:spPr bwMode="auto">
          <a:xfrm flipH="1">
            <a:off x="11331676" y="4726789"/>
            <a:ext cx="380976" cy="1162"/>
          </a:xfrm>
          <a:prstGeom prst="line">
            <a:avLst/>
          </a:prstGeom>
          <a:noFill/>
          <a:ln w="25400">
            <a:solidFill>
              <a:schemeClr val="bg1"/>
            </a:solidFill>
            <a:round/>
            <a:headEnd type="none" w="lg" len="lg"/>
            <a:tailEnd type="triangle" w="lg" len="lg"/>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27"/>
          <p:cNvSpPr>
            <a:spLocks noChangeShapeType="1"/>
          </p:cNvSpPr>
          <p:nvPr/>
        </p:nvSpPr>
        <p:spPr bwMode="auto">
          <a:xfrm flipH="1">
            <a:off x="11331676" y="5507148"/>
            <a:ext cx="380976" cy="0"/>
          </a:xfrm>
          <a:prstGeom prst="line">
            <a:avLst/>
          </a:prstGeom>
          <a:noFill/>
          <a:ln w="25400">
            <a:solidFill>
              <a:schemeClr val="bg1"/>
            </a:solidFill>
            <a:round/>
            <a:headEnd type="none" w="lg" len="lg"/>
            <a:tailEnd type="triangle" w="lg" len="lg"/>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sp>
        <p:nvSpPr>
          <p:cNvPr id="43" name="Rectangle 29"/>
          <p:cNvSpPr>
            <a:spLocks noChangeArrowheads="1"/>
          </p:cNvSpPr>
          <p:nvPr/>
        </p:nvSpPr>
        <p:spPr bwMode="auto">
          <a:xfrm>
            <a:off x="3675148" y="55219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cheduler</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44" name="Rectangle 10"/>
          <p:cNvSpPr>
            <a:spLocks noChangeArrowheads="1"/>
          </p:cNvSpPr>
          <p:nvPr/>
        </p:nvSpPr>
        <p:spPr bwMode="auto">
          <a:xfrm>
            <a:off x="4862650" y="4797124"/>
            <a:ext cx="917600" cy="614055"/>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XEvents</a:t>
            </a:r>
          </a:p>
        </p:txBody>
      </p:sp>
      <p:sp>
        <p:nvSpPr>
          <p:cNvPr id="3" name="Rectangle 5">
            <a:extLst>
              <a:ext uri="{FF2B5EF4-FFF2-40B4-BE49-F238E27FC236}">
                <a16:creationId xmlns:a16="http://schemas.microsoft.com/office/drawing/2014/main" id="{853C5D5E-3614-42C3-81BF-1E94044ADFBC}"/>
              </a:ext>
            </a:extLst>
          </p:cNvPr>
          <p:cNvSpPr>
            <a:spLocks noChangeArrowheads="1"/>
          </p:cNvSpPr>
          <p:nvPr/>
        </p:nvSpPr>
        <p:spPr bwMode="auto">
          <a:xfrm>
            <a:off x="682366" y="4708170"/>
            <a:ext cx="118538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ing</a:t>
            </a:r>
            <a:endParaRPr kumimoji="0" lang="en-US" sz="1372"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5">
            <a:extLst>
              <a:ext uri="{FF2B5EF4-FFF2-40B4-BE49-F238E27FC236}">
                <a16:creationId xmlns:a16="http://schemas.microsoft.com/office/drawing/2014/main" id="{0B9C3D5B-4A1D-4C37-BB09-82679FC99078}"/>
              </a:ext>
            </a:extLst>
          </p:cNvPr>
          <p:cNvSpPr>
            <a:spLocks noChangeArrowheads="1"/>
          </p:cNvSpPr>
          <p:nvPr/>
        </p:nvSpPr>
        <p:spPr bwMode="auto">
          <a:xfrm>
            <a:off x="682367" y="5537121"/>
            <a:ext cx="1185389" cy="614086"/>
          </a:xfrm>
          <a:prstGeom prst="rect">
            <a:avLst/>
          </a:prstGeom>
          <a:solidFill>
            <a:srgbClr val="91ABD5"/>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sour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Management</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Rectangle 5">
            <a:extLst>
              <a:ext uri="{FF2B5EF4-FFF2-40B4-BE49-F238E27FC236}">
                <a16:creationId xmlns:a16="http://schemas.microsoft.com/office/drawing/2014/main" id="{6846164B-E2AC-4AE4-963D-11275D5BB57E}"/>
              </a:ext>
            </a:extLst>
          </p:cNvPr>
          <p:cNvSpPr>
            <a:spLocks noChangeArrowheads="1"/>
          </p:cNvSpPr>
          <p:nvPr/>
        </p:nvSpPr>
        <p:spPr bwMode="auto">
          <a:xfrm rot="16200000">
            <a:off x="581872" y="2770391"/>
            <a:ext cx="2598014" cy="614086"/>
          </a:xfrm>
          <a:prstGeom prst="rect">
            <a:avLst/>
          </a:prstGeom>
          <a:solidFill>
            <a:schemeClr val="accent1"/>
          </a:solidFill>
          <a:ln>
            <a:solidFill>
              <a:schemeClr val="accent2">
                <a:lumMod val="50000"/>
              </a:schemeClr>
            </a:solidFill>
            <a:headEnd/>
            <a:tailEnd/>
          </a:ln>
          <a:effectLst>
            <a:outerShdw blurRad="63500" sx="102000" sy="102000" algn="ctr"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Database Engine</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Down Arrow 26">
            <a:extLst>
              <a:ext uri="{FF2B5EF4-FFF2-40B4-BE49-F238E27FC236}">
                <a16:creationId xmlns:a16="http://schemas.microsoft.com/office/drawing/2014/main" id="{80FB7214-A5FC-48CF-B466-28DC4D4C1520}"/>
              </a:ext>
            </a:extLst>
          </p:cNvPr>
          <p:cNvSpPr/>
          <p:nvPr/>
        </p:nvSpPr>
        <p:spPr>
          <a:xfrm>
            <a:off x="6376943" y="4334255"/>
            <a:ext cx="264692" cy="303350"/>
          </a:xfrm>
          <a:prstGeom prst="downArrow">
            <a:avLst/>
          </a:prstGeom>
          <a:solidFill>
            <a:srgbClr val="00B0F0"/>
          </a:solidFill>
          <a:effectLst>
            <a:glow rad="139700">
              <a:schemeClr val="accent1">
                <a:satMod val="175000"/>
                <a:alpha val="40000"/>
              </a:schemeClr>
            </a:glow>
            <a:outerShdw blurRad="57150" dist="19050" dir="5400000" algn="ctr" rotWithShape="0">
              <a:srgbClr val="000000">
                <a:alpha val="63000"/>
              </a:srgbClr>
            </a:outerShdw>
          </a:effectLst>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070814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Operating System (SQLOS)</a:t>
            </a:r>
          </a:p>
        </p:txBody>
      </p:sp>
      <p:graphicFrame>
        <p:nvGraphicFramePr>
          <p:cNvPr id="3" name="Content Placeholder 2">
            <a:extLst>
              <a:ext uri="{FF2B5EF4-FFF2-40B4-BE49-F238E27FC236}">
                <a16:creationId xmlns:a16="http://schemas.microsoft.com/office/drawing/2014/main" id="{5CA0B4DB-D319-4728-A594-945FEBEFDAFE}"/>
              </a:ext>
            </a:extLst>
          </p:cNvPr>
          <p:cNvGraphicFramePr>
            <a:graphicFrameLocks noGrp="1"/>
          </p:cNvGraphicFramePr>
          <p:nvPr>
            <p:ph sz="quarter" idx="13"/>
            <p:extLst>
              <p:ext uri="{D42A27DB-BD31-4B8C-83A1-F6EECF244321}">
                <p14:modId xmlns:p14="http://schemas.microsoft.com/office/powerpoint/2010/main" val="2232624102"/>
              </p:ext>
            </p:extLst>
          </p:nvPr>
        </p:nvGraphicFramePr>
        <p:xfrm>
          <a:off x="655638" y="1034716"/>
          <a:ext cx="10880726" cy="5193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52700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wo Main Functions of SQLOS</a:t>
            </a:r>
          </a:p>
        </p:txBody>
      </p:sp>
      <p:graphicFrame>
        <p:nvGraphicFramePr>
          <p:cNvPr id="2" name="Diagram 1">
            <a:extLst>
              <a:ext uri="{FF2B5EF4-FFF2-40B4-BE49-F238E27FC236}">
                <a16:creationId xmlns:a16="http://schemas.microsoft.com/office/drawing/2014/main" id="{073D7507-AD76-47BF-9D20-D4933FD9684F}"/>
              </a:ext>
            </a:extLst>
          </p:cNvPr>
          <p:cNvGraphicFramePr/>
          <p:nvPr>
            <p:extLst>
              <p:ext uri="{D42A27DB-BD31-4B8C-83A1-F6EECF244321}">
                <p14:modId xmlns:p14="http://schemas.microsoft.com/office/powerpoint/2010/main" val="3933747043"/>
              </p:ext>
            </p:extLst>
          </p:nvPr>
        </p:nvGraphicFramePr>
        <p:xfrm>
          <a:off x="612729" y="1131635"/>
          <a:ext cx="10966543" cy="53608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5595424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53128" y="377110"/>
            <a:ext cx="11654187" cy="461600"/>
          </a:xfrm>
        </p:spPr>
        <p:txBody>
          <a:bodyPr/>
          <a:lstStyle/>
          <a:p>
            <a:r>
              <a:rPr lang="en-US" sz="3200" b="1" spc="-50" dirty="0">
                <a:ln w="3175">
                  <a:noFill/>
                </a:ln>
                <a:ea typeface="+mn-ea"/>
                <a:cs typeface="Segoe UI" pitchFamily="34" charset="0"/>
              </a:rPr>
              <a:t>Dynamic Management Views and Functions</a:t>
            </a:r>
          </a:p>
        </p:txBody>
      </p:sp>
      <p:graphicFrame>
        <p:nvGraphicFramePr>
          <p:cNvPr id="48" name="Table 3">
            <a:extLst>
              <a:ext uri="{FF2B5EF4-FFF2-40B4-BE49-F238E27FC236}">
                <a16:creationId xmlns:a16="http://schemas.microsoft.com/office/drawing/2014/main" id="{49DE2E63-2593-4483-ACE8-C24F9C63DD6A}"/>
              </a:ext>
            </a:extLst>
          </p:cNvPr>
          <p:cNvGraphicFramePr>
            <a:graphicFrameLocks/>
          </p:cNvGraphicFramePr>
          <p:nvPr>
            <p:extLst>
              <p:ext uri="{D42A27DB-BD31-4B8C-83A1-F6EECF244321}">
                <p14:modId xmlns:p14="http://schemas.microsoft.com/office/powerpoint/2010/main" val="1377230221"/>
              </p:ext>
            </p:extLst>
          </p:nvPr>
        </p:nvGraphicFramePr>
        <p:xfrm>
          <a:off x="1013329" y="1171556"/>
          <a:ext cx="10165342" cy="5309334"/>
        </p:xfrm>
        <a:graphic>
          <a:graphicData uri="http://schemas.openxmlformats.org/drawingml/2006/table">
            <a:tbl>
              <a:tblPr firstRow="1" bandRow="1">
                <a:tableStyleId>{D7AC3CCA-C797-4891-BE02-D94E43425B78}</a:tableStyleId>
              </a:tblPr>
              <a:tblGrid>
                <a:gridCol w="3178952">
                  <a:extLst>
                    <a:ext uri="{9D8B030D-6E8A-4147-A177-3AD203B41FA5}">
                      <a16:colId xmlns:a16="http://schemas.microsoft.com/office/drawing/2014/main" val="20000"/>
                    </a:ext>
                  </a:extLst>
                </a:gridCol>
                <a:gridCol w="6986390">
                  <a:extLst>
                    <a:ext uri="{9D8B030D-6E8A-4147-A177-3AD203B41FA5}">
                      <a16:colId xmlns:a16="http://schemas.microsoft.com/office/drawing/2014/main" val="20001"/>
                    </a:ext>
                  </a:extLst>
                </a:gridCol>
              </a:tblGrid>
              <a:tr h="884889">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pPr algn="ctr"/>
                      <a:r>
                        <a:rPr lang="en-AU" sz="2700" b="1" dirty="0">
                          <a:ln>
                            <a:solidFill>
                              <a:schemeClr val="bg1"/>
                            </a:solidFill>
                          </a:ln>
                          <a:solidFill>
                            <a:sysClr val="windowText" lastClr="000000"/>
                          </a:solidFill>
                        </a:rPr>
                        <a:t>Category</a:t>
                      </a:r>
                      <a:endParaRPr lang="en-AU" sz="2700" b="1" dirty="0">
                        <a:ln>
                          <a:solidFill>
                            <a:schemeClr val="bg1"/>
                          </a:solidFill>
                        </a:ln>
                        <a:solidFill>
                          <a:sysClr val="windowText" lastClr="000000"/>
                        </a:solidFill>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pPr algn="ctr"/>
                      <a:r>
                        <a:rPr lang="en-AU" sz="2700" b="1" dirty="0">
                          <a:ln>
                            <a:solidFill>
                              <a:schemeClr val="bg1"/>
                            </a:solidFill>
                          </a:ln>
                          <a:solidFill>
                            <a:sysClr val="windowText" lastClr="000000"/>
                          </a:solidFill>
                        </a:rPr>
                        <a:t>Description</a:t>
                      </a:r>
                      <a:endParaRPr lang="en-AU" sz="2700" b="1" dirty="0">
                        <a:ln>
                          <a:solidFill>
                            <a:schemeClr val="bg1"/>
                          </a:solidFill>
                        </a:ln>
                        <a:solidFill>
                          <a:sysClr val="windowText" lastClr="000000"/>
                        </a:solidFill>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0"/>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exec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Execution and connection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1"/>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t>sys.dm_os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Operating system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2"/>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t>sys.dm_tran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Transaction management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3"/>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io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I/O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4"/>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db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Database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1180668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heme/theme1.xml><?xml version="1.0" encoding="utf-8"?>
<a:theme xmlns:a="http://schemas.openxmlformats.org/drawingml/2006/main" name="COR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1_CORE TEMPLATE">
  <a:themeElements>
    <a:clrScheme name="Custom 84">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4.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7.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086AF5-CCD3-41C8-B98A-2B159789D38E}">
  <ds:schemaRefs>
    <ds:schemaRef ds:uri="Strauss.PersonalizationDefinition"/>
  </ds:schemaRefs>
</ds:datastoreItem>
</file>

<file path=customXml/itemProps2.xml><?xml version="1.0" encoding="utf-8"?>
<ds:datastoreItem xmlns:ds="http://schemas.openxmlformats.org/officeDocument/2006/customXml" ds:itemID="{BA761D3F-B287-49AD-B9B2-9D8EC532A1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BCC33FC-94BB-4B1D-A4C6-D2E6A3A4B1FD}">
  <ds:schemaRefs>
    <ds:schemaRef ds:uri="Strauss.PersonalizationDefinition"/>
  </ds:schemaRefs>
</ds:datastoreItem>
</file>

<file path=customXml/itemProps4.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5.xml><?xml version="1.0" encoding="utf-8"?>
<ds:datastoreItem xmlns:ds="http://schemas.openxmlformats.org/officeDocument/2006/customXml" ds:itemID="{9EEC7FED-AC7D-45C9-8F29-C2C8A7233C3D}">
  <ds:schemaRefs>
    <ds:schemaRef ds:uri="Strauss.PersonalizationDefinition"/>
  </ds:schemaRefs>
</ds:datastoreItem>
</file>

<file path=customXml/itemProps6.xml><?xml version="1.0" encoding="utf-8"?>
<ds:datastoreItem xmlns:ds="http://schemas.openxmlformats.org/officeDocument/2006/customXml" ds:itemID="{7C42A160-080E-4178-8FDB-B5422D4D778A}">
  <ds:schemaRefs>
    <ds:schemaRef ds:uri="Strauss.PersonalizationDefinition"/>
  </ds:schemaRefs>
</ds:datastoreItem>
</file>

<file path=customXml/itemProps7.xml><?xml version="1.0" encoding="utf-8"?>
<ds:datastoreItem xmlns:ds="http://schemas.openxmlformats.org/officeDocument/2006/customXml" ds:itemID="{75C05EC8-D295-4080-807A-6EA8C339A657}">
  <ds:schemaRefs>
    <ds:schemaRef ds:uri="Strauss.PersonalizationDefinition"/>
  </ds:schemaRefs>
</ds:datastoreItem>
</file>

<file path=customXml/itemProps8.xml><?xml version="1.0" encoding="utf-8"?>
<ds:datastoreItem xmlns:ds="http://schemas.openxmlformats.org/officeDocument/2006/customXml" ds:itemID="{9CFE9A22-C3CB-45B7-B365-FE59FD6BB66B}">
  <ds:schemaRefs>
    <ds:schemaRef ds:uri="Strauss.PersonalizationDefinition"/>
  </ds:schemaRefs>
</ds:datastoreItem>
</file>

<file path=customXml/itemProps9.xml><?xml version="1.0" encoding="utf-8"?>
<ds:datastoreItem xmlns:ds="http://schemas.openxmlformats.org/officeDocument/2006/customXml" ds:itemID="{8F4CBF12-53FB-4126-B801-12CCF3B1A0C2}">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247</TotalTime>
  <Words>10476</Words>
  <Application>Microsoft Office PowerPoint</Application>
  <PresentationFormat>Widescreen</PresentationFormat>
  <Paragraphs>829</Paragraphs>
  <Slides>44</Slides>
  <Notes>38</Notes>
  <HiddenSlides>1</HiddenSlides>
  <MMClips>0</MMClips>
  <ScaleCrop>false</ScaleCrop>
  <HeadingPairs>
    <vt:vector size="6" baseType="variant">
      <vt:variant>
        <vt:lpstr>Fonts Used</vt:lpstr>
      </vt:variant>
      <vt:variant>
        <vt:i4>13</vt:i4>
      </vt:variant>
      <vt:variant>
        <vt:lpstr>Theme</vt:lpstr>
      </vt:variant>
      <vt:variant>
        <vt:i4>6</vt:i4>
      </vt:variant>
      <vt:variant>
        <vt:lpstr>Slide Titles</vt:lpstr>
      </vt:variant>
      <vt:variant>
        <vt:i4>44</vt:i4>
      </vt:variant>
    </vt:vector>
  </HeadingPairs>
  <TitlesOfParts>
    <vt:vector size="63" baseType="lpstr">
      <vt:lpstr>&amp;quot</vt:lpstr>
      <vt:lpstr>Arial</vt:lpstr>
      <vt:lpstr>Calibri</vt:lpstr>
      <vt:lpstr>Calibri Light</vt:lpstr>
      <vt:lpstr>Century Gothic</vt:lpstr>
      <vt:lpstr>Comic Sans MS</vt:lpstr>
      <vt:lpstr>Consolas</vt:lpstr>
      <vt:lpstr>Lucida Console</vt:lpstr>
      <vt:lpstr>Segoe UI</vt:lpstr>
      <vt:lpstr>Segoe UI Light</vt:lpstr>
      <vt:lpstr>Segoe UI Semibold</vt:lpstr>
      <vt:lpstr>Verdana</vt:lpstr>
      <vt:lpstr>Wingdings</vt:lpstr>
      <vt:lpstr>CORE TEMPLATE</vt:lpstr>
      <vt:lpstr>1_CORE TEMPLATE</vt:lpstr>
      <vt:lpstr>1_PASS 2013_SpeakerTemplate_Final</vt:lpstr>
      <vt:lpstr>Workshop</vt:lpstr>
      <vt:lpstr>1_Dark Blue</vt:lpstr>
      <vt:lpstr>1_Workshop</vt:lpstr>
      <vt:lpstr>SQL Server Architecture, Scheduling, and Waits</vt:lpstr>
      <vt:lpstr>PowerPoint Presentation</vt:lpstr>
      <vt:lpstr>Learning Units covered in this Module</vt:lpstr>
      <vt:lpstr>Lesson 1: Introduction to SQL Operating System</vt:lpstr>
      <vt:lpstr>Objectives</vt:lpstr>
      <vt:lpstr>Inside the Database Engine</vt:lpstr>
      <vt:lpstr>SQL Server Operating System (SQLOS)</vt:lpstr>
      <vt:lpstr>Two Main Functions of SQLOS</vt:lpstr>
      <vt:lpstr>Dynamic Management Views and Functions</vt:lpstr>
      <vt:lpstr>Using Dynamic Management Objects (DMOs)</vt:lpstr>
      <vt:lpstr>Demonstration</vt:lpstr>
      <vt:lpstr>Questions?</vt:lpstr>
      <vt:lpstr>Knowledge Check</vt:lpstr>
      <vt:lpstr>Lesson 2: SQL Server Task Scheduling</vt:lpstr>
      <vt:lpstr>Objectives</vt:lpstr>
      <vt:lpstr>Microsoft SQL Server Scheduling Terminology</vt:lpstr>
      <vt:lpstr>Hierarchy of Common Terms</vt:lpstr>
      <vt:lpstr>Hierarchy of Common Terms</vt:lpstr>
      <vt:lpstr>Hierarchy of Common Terms</vt:lpstr>
      <vt:lpstr>Hierarchy of Common Terms</vt:lpstr>
      <vt:lpstr>Hierarchy of Common Terms</vt:lpstr>
      <vt:lpstr>Hierarchy of Common Terms</vt:lpstr>
      <vt:lpstr>Scheduling Types</vt:lpstr>
      <vt:lpstr>SQL Server Task Scheduling</vt:lpstr>
      <vt:lpstr>Yielding</vt:lpstr>
      <vt:lpstr>Thread States and Queues</vt:lpstr>
      <vt:lpstr>Yielding </vt:lpstr>
      <vt:lpstr>Demonstration</vt:lpstr>
      <vt:lpstr>Questions?</vt:lpstr>
      <vt:lpstr>Knowledge Check</vt:lpstr>
      <vt:lpstr>Lesson 3: SQL Server Waits and Queues</vt:lpstr>
      <vt:lpstr>Objectives</vt:lpstr>
      <vt:lpstr>Waits and Queues</vt:lpstr>
      <vt:lpstr>Using Waits and Queues</vt:lpstr>
      <vt:lpstr>Task Execution Model</vt:lpstr>
      <vt:lpstr>Task Execution Model</vt:lpstr>
      <vt:lpstr>Relevant Dynamic Management Views (DMVs)</vt:lpstr>
      <vt:lpstr>Waiting Tasks DMV</vt:lpstr>
      <vt:lpstr>Notable Wait Types</vt:lpstr>
      <vt:lpstr>Demonstration</vt:lpstr>
      <vt:lpstr>Waits and queues</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62</cp:revision>
  <dcterms:created xsi:type="dcterms:W3CDTF">2019-08-12T16:24:54Z</dcterms:created>
  <dcterms:modified xsi:type="dcterms:W3CDTF">2023-12-21T00:5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